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3.svg" ContentType="image/svg+xml"/>
  <Override PartName="/ppt/media/image15.svg" ContentType="image/svg+xml"/>
  <Override PartName="/ppt/media/image17.svg" ContentType="image/svg+xml"/>
  <Override PartName="/ppt/media/image19.svg" ContentType="image/svg+xml"/>
  <Override PartName="/ppt/media/image21.svg" ContentType="image/svg+xml"/>
  <Override PartName="/ppt/media/image23.svg" ContentType="image/svg+xml"/>
  <Override PartName="/ppt/media/image25.svg" ContentType="image/svg+xml"/>
  <Override PartName="/ppt/media/image28.svg" ContentType="image/svg+xml"/>
  <Override PartName="/ppt/media/image30.svg" ContentType="image/svg+xml"/>
  <Override PartName="/ppt/media/image32.svg" ContentType="image/svg+xml"/>
  <Override PartName="/ppt/media/image35.svg" ContentType="image/svg+xml"/>
  <Override PartName="/ppt/media/image37.svg" ContentType="image/svg+xml"/>
  <Override PartName="/ppt/media/image43.svg" ContentType="image/svg+xml"/>
  <Override PartName="/ppt/media/image48.svg" ContentType="image/svg+xml"/>
  <Override PartName="/ppt/media/image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4"/>
  </p:notesMasterIdLst>
  <p:handoutMasterIdLst>
    <p:handoutMasterId r:id="rId14"/>
  </p:handoutMasterIdLst>
  <p:sldIdLst>
    <p:sldId id="16772451" r:id="rId3"/>
    <p:sldId id="16772446" r:id="rId5"/>
    <p:sldId id="16772467" r:id="rId6"/>
    <p:sldId id="16772468" r:id="rId7"/>
    <p:sldId id="16772464" r:id="rId8"/>
    <p:sldId id="16772472" r:id="rId9"/>
    <p:sldId id="16772469" r:id="rId10"/>
    <p:sldId id="16772470" r:id="rId11"/>
    <p:sldId id="16772427" r:id="rId12"/>
    <p:sldId id="16772473" r:id="rId13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0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37467784" name="E.vAY☁︎" initials="E" lastIdx="13" clrIdx="0"/>
  <p:cmAuthor id="237467785" name="严 依闻/Eva Yan" initials="EY" lastIdx="10" clrIdx="1"/>
  <p:cmAuthor id="237467786" name="Zhang,Bryan (HP MA) BII-CN-B" initials="XZ" lastIdx="1" clrIdx="2"/>
  <p:cmAuthor id="237467787" name="59818450@qq.com" initials="5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71CA"/>
    <a:srgbClr val="E1007F"/>
    <a:srgbClr val="E76B25"/>
    <a:srgbClr val="EFF7FE"/>
    <a:srgbClr val="0033CC"/>
    <a:srgbClr val="8CA9DF"/>
    <a:srgbClr val="5D84D1"/>
    <a:srgbClr val="CC0066"/>
    <a:srgbClr val="FF0066"/>
    <a:srgbClr val="FF3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50" autoAdjust="0"/>
    <p:restoredTop sz="91443" autoAdjust="0"/>
  </p:normalViewPr>
  <p:slideViewPr>
    <p:cSldViewPr snapToGrid="0" showGuides="1">
      <p:cViewPr varScale="1">
        <p:scale>
          <a:sx n="111" d="100"/>
          <a:sy n="111" d="100"/>
        </p:scale>
        <p:origin x="1152" y="72"/>
      </p:cViewPr>
      <p:guideLst>
        <p:guide orient="horz" pos="2387"/>
        <p:guide pos="380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9" d="100"/>
          <a:sy n="119" d="100"/>
        </p:scale>
        <p:origin x="229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gs" Target="tags/tag95.xml"/><Relationship Id="rId18" Type="http://schemas.openxmlformats.org/officeDocument/2006/relationships/commentAuthors" Target="commentAuthors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handoutMaster" Target="handoutMasters/handoutMaster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rcRect l="1883" t="22537" r="90224" b="16567"/>
          <a:stretch>
            <a:fillRect/>
          </a:stretch>
        </p:blipFill>
        <p:spPr>
          <a:xfrm>
            <a:off x="115749" y="343651"/>
            <a:ext cx="720523" cy="835152"/>
          </a:xfrm>
          <a:prstGeom prst="ellipse">
            <a:avLst/>
          </a:prstGeom>
        </p:spPr>
      </p:pic>
      <p:sp>
        <p:nvSpPr>
          <p:cNvPr id="8" name="任意多边形: 形状 7"/>
          <p:cNvSpPr/>
          <p:nvPr userDrawn="1"/>
        </p:nvSpPr>
        <p:spPr>
          <a:xfrm>
            <a:off x="716665" y="470311"/>
            <a:ext cx="11475335" cy="558683"/>
          </a:xfrm>
          <a:custGeom>
            <a:avLst/>
            <a:gdLst>
              <a:gd name="connsiteX0" fmla="*/ 1 w 8545412"/>
              <a:gd name="connsiteY0" fmla="*/ 0 h 481121"/>
              <a:gd name="connsiteX1" fmla="*/ 8545412 w 8545412"/>
              <a:gd name="connsiteY1" fmla="*/ 0 h 481121"/>
              <a:gd name="connsiteX2" fmla="*/ 8545412 w 8545412"/>
              <a:gd name="connsiteY2" fmla="*/ 481121 h 481121"/>
              <a:gd name="connsiteX3" fmla="*/ 0 w 8545412"/>
              <a:gd name="connsiteY3" fmla="*/ 481121 h 481121"/>
              <a:gd name="connsiteX4" fmla="*/ 35567 w 8545412"/>
              <a:gd name="connsiteY4" fmla="*/ 451776 h 481121"/>
              <a:gd name="connsiteX5" fmla="*/ 123055 w 8545412"/>
              <a:gd name="connsiteY5" fmla="*/ 240560 h 481121"/>
              <a:gd name="connsiteX6" fmla="*/ 35567 w 8545412"/>
              <a:gd name="connsiteY6" fmla="*/ 29344 h 481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45412" h="481121">
                <a:moveTo>
                  <a:pt x="1" y="0"/>
                </a:moveTo>
                <a:lnTo>
                  <a:pt x="8545412" y="0"/>
                </a:lnTo>
                <a:lnTo>
                  <a:pt x="8545412" y="481121"/>
                </a:lnTo>
                <a:lnTo>
                  <a:pt x="0" y="481121"/>
                </a:lnTo>
                <a:lnTo>
                  <a:pt x="35567" y="451776"/>
                </a:lnTo>
                <a:cubicBezTo>
                  <a:pt x="89622" y="397721"/>
                  <a:pt x="123055" y="323045"/>
                  <a:pt x="123055" y="240560"/>
                </a:cubicBezTo>
                <a:cubicBezTo>
                  <a:pt x="123055" y="158075"/>
                  <a:pt x="89622" y="83399"/>
                  <a:pt x="35567" y="2934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716665" y="1092861"/>
            <a:ext cx="8599540" cy="5017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57000">
                <a:srgbClr val="00B05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3239" y="0"/>
            <a:ext cx="12185522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78" y="0"/>
            <a:ext cx="12185522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4521200"/>
            <a:ext cx="12192000" cy="2336800"/>
          </a:xfrm>
          <a:prstGeom prst="rect">
            <a:avLst/>
          </a:prstGeom>
          <a:gradFill>
            <a:gsLst>
              <a:gs pos="79000">
                <a:schemeClr val="bg1"/>
              </a:gs>
              <a:gs pos="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9" y="0"/>
            <a:ext cx="12185522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9" y="0"/>
            <a:ext cx="12185522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3" Type="http://schemas.openxmlformats.org/officeDocument/2006/relationships/image" Target="../media/image7.emf"/><Relationship Id="rId12" Type="http://schemas.openxmlformats.org/officeDocument/2006/relationships/oleObject" Target="../embeddings/oleObject1.bin"/><Relationship Id="rId11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12" imgW="5715" imgH="5715" progId="TCLayout.ActiveDocument.1">
                  <p:embed/>
                </p:oleObj>
              </mc:Choice>
              <mc:Fallback>
                <p:oleObj name="think-cell 幻灯片" r:id="rId1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2.xml"/><Relationship Id="rId6" Type="http://schemas.microsoft.com/office/2007/relationships/hdphoto" Target="../media/image51.wdp"/><Relationship Id="rId5" Type="http://schemas.openxmlformats.org/officeDocument/2006/relationships/image" Target="../media/image50.png"/><Relationship Id="rId4" Type="http://schemas.openxmlformats.org/officeDocument/2006/relationships/image" Target="../media/image7.emf"/><Relationship Id="rId3" Type="http://schemas.openxmlformats.org/officeDocument/2006/relationships/oleObject" Target="../embeddings/oleObject2.bin"/><Relationship Id="rId2" Type="http://schemas.openxmlformats.org/officeDocument/2006/relationships/tags" Target="../tags/tag94.xml"/><Relationship Id="rId1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5" Type="http://schemas.openxmlformats.org/officeDocument/2006/relationships/notesSlide" Target="../notesSlides/notesSlide2.xml"/><Relationship Id="rId14" Type="http://schemas.openxmlformats.org/officeDocument/2006/relationships/slideLayout" Target="../slideLayouts/slideLayout4.xml"/><Relationship Id="rId13" Type="http://schemas.openxmlformats.org/officeDocument/2006/relationships/image" Target="../media/image11.png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20.png"/><Relationship Id="rId8" Type="http://schemas.openxmlformats.org/officeDocument/2006/relationships/image" Target="../media/image19.svg"/><Relationship Id="rId7" Type="http://schemas.openxmlformats.org/officeDocument/2006/relationships/image" Target="../media/image18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Relationship Id="rId3" Type="http://schemas.openxmlformats.org/officeDocument/2006/relationships/image" Target="../media/image14.png"/><Relationship Id="rId2" Type="http://schemas.openxmlformats.org/officeDocument/2006/relationships/image" Target="../media/image13.svg"/><Relationship Id="rId17" Type="http://schemas.openxmlformats.org/officeDocument/2006/relationships/notesSlide" Target="../notesSlides/notesSlide3.xml"/><Relationship Id="rId16" Type="http://schemas.openxmlformats.org/officeDocument/2006/relationships/slideLayout" Target="../slideLayouts/slideLayout4.xml"/><Relationship Id="rId15" Type="http://schemas.openxmlformats.org/officeDocument/2006/relationships/image" Target="../media/image10.png"/><Relationship Id="rId14" Type="http://schemas.openxmlformats.org/officeDocument/2006/relationships/image" Target="../media/image25.svg"/><Relationship Id="rId13" Type="http://schemas.openxmlformats.org/officeDocument/2006/relationships/image" Target="../media/image24.png"/><Relationship Id="rId12" Type="http://schemas.openxmlformats.org/officeDocument/2006/relationships/image" Target="../media/image23.svg"/><Relationship Id="rId11" Type="http://schemas.openxmlformats.org/officeDocument/2006/relationships/image" Target="../media/image22.png"/><Relationship Id="rId10" Type="http://schemas.openxmlformats.org/officeDocument/2006/relationships/image" Target="../media/image21.svg"/><Relationship Id="rId1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21.xml"/><Relationship Id="rId8" Type="http://schemas.openxmlformats.org/officeDocument/2006/relationships/tags" Target="../tags/tag20.xml"/><Relationship Id="rId7" Type="http://schemas.openxmlformats.org/officeDocument/2006/relationships/tags" Target="../tags/tag19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3" Type="http://schemas.openxmlformats.org/officeDocument/2006/relationships/tags" Target="../tags/tag15.xml"/><Relationship Id="rId20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9" Type="http://schemas.openxmlformats.org/officeDocument/2006/relationships/slideLayout" Target="../slideLayouts/slideLayout4.xml"/><Relationship Id="rId18" Type="http://schemas.openxmlformats.org/officeDocument/2006/relationships/tags" Target="../tags/tag30.xml"/><Relationship Id="rId17" Type="http://schemas.openxmlformats.org/officeDocument/2006/relationships/tags" Target="../tags/tag29.xml"/><Relationship Id="rId16" Type="http://schemas.openxmlformats.org/officeDocument/2006/relationships/tags" Target="../tags/tag28.xml"/><Relationship Id="rId15" Type="http://schemas.openxmlformats.org/officeDocument/2006/relationships/tags" Target="../tags/tag27.xml"/><Relationship Id="rId14" Type="http://schemas.openxmlformats.org/officeDocument/2006/relationships/tags" Target="../tags/tag26.xml"/><Relationship Id="rId13" Type="http://schemas.openxmlformats.org/officeDocument/2006/relationships/tags" Target="../tags/tag25.xml"/><Relationship Id="rId12" Type="http://schemas.openxmlformats.org/officeDocument/2006/relationships/tags" Target="../tags/tag24.xml"/><Relationship Id="rId11" Type="http://schemas.openxmlformats.org/officeDocument/2006/relationships/tags" Target="../tags/tag23.xml"/><Relationship Id="rId10" Type="http://schemas.openxmlformats.org/officeDocument/2006/relationships/tags" Target="../tags/tag22.xml"/><Relationship Id="rId1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39.xml"/><Relationship Id="rId8" Type="http://schemas.openxmlformats.org/officeDocument/2006/relationships/tags" Target="../tags/tag38.xml"/><Relationship Id="rId7" Type="http://schemas.openxmlformats.org/officeDocument/2006/relationships/tags" Target="../tags/tag37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0" Type="http://schemas.openxmlformats.org/officeDocument/2006/relationships/notesSlide" Target="../notesSlides/notesSlide5.xml"/><Relationship Id="rId4" Type="http://schemas.openxmlformats.org/officeDocument/2006/relationships/tags" Target="../tags/tag34.xml"/><Relationship Id="rId39" Type="http://schemas.openxmlformats.org/officeDocument/2006/relationships/slideLayout" Target="../slideLayouts/slideLayout4.xml"/><Relationship Id="rId38" Type="http://schemas.openxmlformats.org/officeDocument/2006/relationships/image" Target="../media/image32.svg"/><Relationship Id="rId37" Type="http://schemas.openxmlformats.org/officeDocument/2006/relationships/image" Target="../media/image31.png"/><Relationship Id="rId36" Type="http://schemas.openxmlformats.org/officeDocument/2006/relationships/tags" Target="../tags/tag62.xml"/><Relationship Id="rId35" Type="http://schemas.openxmlformats.org/officeDocument/2006/relationships/image" Target="../media/image30.svg"/><Relationship Id="rId34" Type="http://schemas.openxmlformats.org/officeDocument/2006/relationships/image" Target="../media/image29.png"/><Relationship Id="rId33" Type="http://schemas.openxmlformats.org/officeDocument/2006/relationships/tags" Target="../tags/tag61.xml"/><Relationship Id="rId32" Type="http://schemas.openxmlformats.org/officeDocument/2006/relationships/image" Target="../media/image28.svg"/><Relationship Id="rId31" Type="http://schemas.openxmlformats.org/officeDocument/2006/relationships/image" Target="../media/image27.png"/><Relationship Id="rId30" Type="http://schemas.openxmlformats.org/officeDocument/2006/relationships/tags" Target="../tags/tag60.xml"/><Relationship Id="rId3" Type="http://schemas.openxmlformats.org/officeDocument/2006/relationships/tags" Target="../tags/tag33.xml"/><Relationship Id="rId29" Type="http://schemas.openxmlformats.org/officeDocument/2006/relationships/tags" Target="../tags/tag59.xml"/><Relationship Id="rId28" Type="http://schemas.openxmlformats.org/officeDocument/2006/relationships/tags" Target="../tags/tag58.xml"/><Relationship Id="rId27" Type="http://schemas.openxmlformats.org/officeDocument/2006/relationships/tags" Target="../tags/tag57.xml"/><Relationship Id="rId26" Type="http://schemas.openxmlformats.org/officeDocument/2006/relationships/tags" Target="../tags/tag56.xml"/><Relationship Id="rId25" Type="http://schemas.openxmlformats.org/officeDocument/2006/relationships/tags" Target="../tags/tag55.xml"/><Relationship Id="rId24" Type="http://schemas.openxmlformats.org/officeDocument/2006/relationships/tags" Target="../tags/tag54.xml"/><Relationship Id="rId23" Type="http://schemas.openxmlformats.org/officeDocument/2006/relationships/tags" Target="../tags/tag53.xml"/><Relationship Id="rId22" Type="http://schemas.openxmlformats.org/officeDocument/2006/relationships/tags" Target="../tags/tag52.xml"/><Relationship Id="rId21" Type="http://schemas.openxmlformats.org/officeDocument/2006/relationships/tags" Target="../tags/tag51.xml"/><Relationship Id="rId20" Type="http://schemas.openxmlformats.org/officeDocument/2006/relationships/tags" Target="../tags/tag50.xml"/><Relationship Id="rId2" Type="http://schemas.openxmlformats.org/officeDocument/2006/relationships/tags" Target="../tags/tag32.xml"/><Relationship Id="rId19" Type="http://schemas.openxmlformats.org/officeDocument/2006/relationships/tags" Target="../tags/tag49.xml"/><Relationship Id="rId18" Type="http://schemas.openxmlformats.org/officeDocument/2006/relationships/tags" Target="../tags/tag48.xml"/><Relationship Id="rId17" Type="http://schemas.openxmlformats.org/officeDocument/2006/relationships/tags" Target="../tags/tag47.xml"/><Relationship Id="rId16" Type="http://schemas.openxmlformats.org/officeDocument/2006/relationships/tags" Target="../tags/tag46.xml"/><Relationship Id="rId15" Type="http://schemas.openxmlformats.org/officeDocument/2006/relationships/tags" Target="../tags/tag45.xml"/><Relationship Id="rId14" Type="http://schemas.openxmlformats.org/officeDocument/2006/relationships/tags" Target="../tags/tag44.xml"/><Relationship Id="rId13" Type="http://schemas.openxmlformats.org/officeDocument/2006/relationships/tags" Target="../tags/tag43.xml"/><Relationship Id="rId12" Type="http://schemas.openxmlformats.org/officeDocument/2006/relationships/tags" Target="../tags/tag42.xml"/><Relationship Id="rId11" Type="http://schemas.openxmlformats.org/officeDocument/2006/relationships/tags" Target="../tags/tag41.xml"/><Relationship Id="rId10" Type="http://schemas.openxmlformats.org/officeDocument/2006/relationships/tags" Target="../tags/tag40.xml"/><Relationship Id="rId1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8" Type="http://schemas.openxmlformats.org/officeDocument/2006/relationships/tags" Target="../tags/tag70.xml"/><Relationship Id="rId7" Type="http://schemas.openxmlformats.org/officeDocument/2006/relationships/tags" Target="../tags/tag69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6" Type="http://schemas.openxmlformats.org/officeDocument/2006/relationships/notesSlide" Target="../notesSlides/notesSlide6.xml"/><Relationship Id="rId25" Type="http://schemas.openxmlformats.org/officeDocument/2006/relationships/slideLayout" Target="../slideLayouts/slideLayout4.xml"/><Relationship Id="rId24" Type="http://schemas.openxmlformats.org/officeDocument/2006/relationships/image" Target="../media/image40.jpeg"/><Relationship Id="rId23" Type="http://schemas.openxmlformats.org/officeDocument/2006/relationships/tags" Target="../tags/tag78.xml"/><Relationship Id="rId22" Type="http://schemas.openxmlformats.org/officeDocument/2006/relationships/image" Target="../media/image39.png"/><Relationship Id="rId21" Type="http://schemas.openxmlformats.org/officeDocument/2006/relationships/tags" Target="../tags/tag77.xml"/><Relationship Id="rId20" Type="http://schemas.openxmlformats.org/officeDocument/2006/relationships/image" Target="../media/image38.png"/><Relationship Id="rId2" Type="http://schemas.openxmlformats.org/officeDocument/2006/relationships/tags" Target="../tags/tag64.xml"/><Relationship Id="rId19" Type="http://schemas.openxmlformats.org/officeDocument/2006/relationships/tags" Target="../tags/tag76.xml"/><Relationship Id="rId18" Type="http://schemas.openxmlformats.org/officeDocument/2006/relationships/image" Target="../media/image37.svg"/><Relationship Id="rId17" Type="http://schemas.openxmlformats.org/officeDocument/2006/relationships/image" Target="../media/image36.png"/><Relationship Id="rId16" Type="http://schemas.openxmlformats.org/officeDocument/2006/relationships/image" Target="../media/image35.svg"/><Relationship Id="rId15" Type="http://schemas.openxmlformats.org/officeDocument/2006/relationships/image" Target="../media/image34.png"/><Relationship Id="rId14" Type="http://schemas.openxmlformats.org/officeDocument/2006/relationships/image" Target="../media/image33.png"/><Relationship Id="rId13" Type="http://schemas.openxmlformats.org/officeDocument/2006/relationships/tags" Target="../tags/tag75.xml"/><Relationship Id="rId12" Type="http://schemas.openxmlformats.org/officeDocument/2006/relationships/tags" Target="../tags/tag74.xml"/><Relationship Id="rId11" Type="http://schemas.openxmlformats.org/officeDocument/2006/relationships/tags" Target="../tags/tag73.xml"/><Relationship Id="rId10" Type="http://schemas.openxmlformats.org/officeDocument/2006/relationships/tags" Target="../tags/tag72.xml"/><Relationship Id="rId1" Type="http://schemas.openxmlformats.org/officeDocument/2006/relationships/tags" Target="../tags/tag6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83.xml"/><Relationship Id="rId8" Type="http://schemas.openxmlformats.org/officeDocument/2006/relationships/image" Target="../media/image45.png"/><Relationship Id="rId7" Type="http://schemas.openxmlformats.org/officeDocument/2006/relationships/tags" Target="../tags/tag82.xml"/><Relationship Id="rId6" Type="http://schemas.openxmlformats.org/officeDocument/2006/relationships/tags" Target="../tags/tag81.xml"/><Relationship Id="rId5" Type="http://schemas.openxmlformats.org/officeDocument/2006/relationships/image" Target="../media/image44.png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image" Target="../media/image43.svg"/><Relationship Id="rId13" Type="http://schemas.openxmlformats.org/officeDocument/2006/relationships/notesSlide" Target="../notesSlides/notesSlide8.xml"/><Relationship Id="rId12" Type="http://schemas.openxmlformats.org/officeDocument/2006/relationships/slideLayout" Target="../slideLayouts/slideLayout4.xml"/><Relationship Id="rId11" Type="http://schemas.openxmlformats.org/officeDocument/2006/relationships/tags" Target="../tags/tag85.xml"/><Relationship Id="rId10" Type="http://schemas.openxmlformats.org/officeDocument/2006/relationships/tags" Target="../tags/tag84.xml"/><Relationship Id="rId1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93.xml"/><Relationship Id="rId8" Type="http://schemas.openxmlformats.org/officeDocument/2006/relationships/tags" Target="../tags/tag92.xml"/><Relationship Id="rId7" Type="http://schemas.openxmlformats.org/officeDocument/2006/relationships/tags" Target="../tags/tag91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3" Type="http://schemas.openxmlformats.org/officeDocument/2006/relationships/notesSlide" Target="../notesSlides/notesSlide9.xml"/><Relationship Id="rId12" Type="http://schemas.openxmlformats.org/officeDocument/2006/relationships/slideLayout" Target="../slideLayouts/slideLayout6.xml"/><Relationship Id="rId11" Type="http://schemas.openxmlformats.org/officeDocument/2006/relationships/image" Target="../media/image48.svg"/><Relationship Id="rId10" Type="http://schemas.openxmlformats.org/officeDocument/2006/relationships/image" Target="../media/image47.png"/><Relationship Id="rId1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形 19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257757" y="290904"/>
            <a:ext cx="1515144" cy="317633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657860" y="2130108"/>
            <a:ext cx="6892290" cy="3288665"/>
            <a:chOff x="657860" y="2516686"/>
            <a:chExt cx="6892290" cy="3288665"/>
          </a:xfrm>
        </p:grpSpPr>
        <p:grpSp>
          <p:nvGrpSpPr>
            <p:cNvPr id="28" name="组合 27"/>
            <p:cNvGrpSpPr/>
            <p:nvPr/>
          </p:nvGrpSpPr>
          <p:grpSpPr>
            <a:xfrm>
              <a:off x="755353" y="2516686"/>
              <a:ext cx="5537497" cy="0"/>
              <a:chOff x="758528" y="2114550"/>
              <a:chExt cx="5537497" cy="0"/>
            </a:xfrm>
          </p:grpSpPr>
          <p:cxnSp>
            <p:nvCxnSpPr>
              <p:cNvPr id="22" name="直接连接符 21"/>
              <p:cNvCxnSpPr/>
              <p:nvPr/>
            </p:nvCxnSpPr>
            <p:spPr>
              <a:xfrm>
                <a:off x="758528" y="2114550"/>
                <a:ext cx="2467396" cy="0"/>
              </a:xfrm>
              <a:prstGeom prst="line">
                <a:avLst/>
              </a:prstGeom>
              <a:ln w="28575">
                <a:solidFill>
                  <a:srgbClr val="0971C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/>
              <p:nvPr/>
            </p:nvCxnSpPr>
            <p:spPr>
              <a:xfrm>
                <a:off x="2908162" y="2114550"/>
                <a:ext cx="1371738" cy="0"/>
              </a:xfrm>
              <a:prstGeom prst="line">
                <a:avLst/>
              </a:prstGeom>
              <a:ln w="28575">
                <a:solidFill>
                  <a:srgbClr val="E100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/>
              <p:nvPr/>
            </p:nvCxnSpPr>
            <p:spPr>
              <a:xfrm>
                <a:off x="4281225" y="2114550"/>
                <a:ext cx="2014800" cy="0"/>
              </a:xfrm>
              <a:prstGeom prst="line">
                <a:avLst/>
              </a:prstGeom>
              <a:ln w="28575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文本框 30"/>
            <p:cNvSpPr txBox="1"/>
            <p:nvPr/>
          </p:nvSpPr>
          <p:spPr>
            <a:xfrm>
              <a:off x="657860" y="2983411"/>
              <a:ext cx="6892290" cy="2821940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>
                <a:lnSpc>
                  <a:spcPct val="160000"/>
                </a:lnSpc>
              </a:pPr>
              <a:r>
                <a:rPr lang="en-US" altLang="zh-CN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填补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中国</a:t>
              </a:r>
              <a:r>
                <a:rPr lang="en-US" altLang="zh-CN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幼儿过敏性结膜炎缺乏有效药物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的</a:t>
              </a:r>
              <a:r>
                <a:rPr lang="en-US" altLang="zh-CN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空白</a:t>
              </a:r>
              <a:endParaRPr lang="zh-CN" altLang="en-US" sz="17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endParaRPr>
            </a:p>
            <a:p>
              <a:pPr>
                <a:lnSpc>
                  <a:spcPct val="160000"/>
                </a:lnSpc>
              </a:pP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全球首个且唯一</a:t>
              </a:r>
              <a:r>
                <a:rPr lang="en-US" altLang="zh-CN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FDA/NMPA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批准的幼儿可用</a:t>
              </a: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抗过敏滴眼液</a:t>
              </a:r>
              <a:endParaRPr lang="zh-CN" altLang="en-US" sz="17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endParaRPr>
            </a:p>
            <a:p>
              <a:pPr>
                <a:lnSpc>
                  <a:spcPct val="160000"/>
                </a:lnSpc>
              </a:pPr>
              <a:r>
                <a:rPr lang="en-US" altLang="zh-CN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FDA</a:t>
              </a: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时隔10年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首个</a:t>
              </a: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全新分子抗过敏滴眼液</a:t>
              </a:r>
              <a:endParaRPr lang="zh-CN" altLang="en-US" sz="17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endParaRPr>
            </a:p>
            <a:p>
              <a:pPr>
                <a:lnSpc>
                  <a:spcPct val="160000"/>
                </a:lnSpc>
              </a:pPr>
              <a:r>
                <a:rPr lang="en-US" altLang="zh-CN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CDE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优先审评</a:t>
              </a: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审批品种</a:t>
              </a:r>
              <a:endParaRPr lang="zh-CN" altLang="en-US" sz="17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endParaRPr>
            </a:p>
            <a:p>
              <a:pPr>
                <a:lnSpc>
                  <a:spcPct val="160000"/>
                </a:lnSpc>
              </a:pP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新一代一线局部抗组胺药，</a:t>
              </a:r>
              <a:r>
                <a:rPr lang="zh-CN" altLang="en-US" sz="1700" b="1">
                  <a:gradFill>
                    <a:gsLst>
                      <a:gs pos="0">
                        <a:srgbClr val="E1007F"/>
                      </a:gs>
                      <a:gs pos="100000">
                        <a:srgbClr val="E1007F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优于</a:t>
              </a:r>
              <a:r>
                <a:rPr lang="zh-CN" altLang="en-US" sz="17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  <a:sym typeface="+mn-ea"/>
                </a:rPr>
                <a:t>传统单效抗组胺药</a:t>
              </a:r>
              <a:endParaRPr lang="zh-CN" altLang="en-US" sz="17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624840" y="5948681"/>
            <a:ext cx="5916637" cy="23177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*</a:t>
            </a:r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幼儿：</a:t>
            </a:r>
            <a:r>
              <a:rPr lang="en-US" altLang="zh-CN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12-36</a:t>
            </a:r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月龄（</a:t>
            </a:r>
            <a:r>
              <a:rPr lang="en-US" altLang="zh-CN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1-3</a:t>
            </a:r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周岁）；</a:t>
            </a:r>
            <a:r>
              <a:rPr lang="en-US" altLang="zh-CN" sz="800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已初步确认0.24%盐酸西替利嗪滴眼液在2岁及以上幼儿患者中的安全性和有效性</a:t>
            </a:r>
            <a:endParaRPr lang="en-US" altLang="zh-CN" sz="800">
              <a:solidFill>
                <a:schemeClr val="tx1"/>
              </a:solidFill>
              <a:latin typeface="微软雅黑" panose="020B0503020204020204" pitchFamily="34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24840" y="1273040"/>
            <a:ext cx="6351905" cy="74803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zh-CN" altLang="en-US" sz="4400" b="1" dirty="0">
                <a:solidFill>
                  <a:srgbClr val="0971C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盐酸西替利嗪滴眼液</a:t>
            </a:r>
            <a:endParaRPr lang="zh-CN" altLang="en-US" sz="4400" b="1" dirty="0">
              <a:solidFill>
                <a:srgbClr val="0971CA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7226299" y="3342659"/>
            <a:ext cx="4686303" cy="2689281"/>
            <a:chOff x="7226299" y="3342659"/>
            <a:chExt cx="4686303" cy="2689281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rcRect l="32848"/>
            <a:stretch>
              <a:fillRect/>
            </a:stretch>
          </p:blipFill>
          <p:spPr>
            <a:xfrm>
              <a:off x="8693150" y="3342659"/>
              <a:ext cx="3219452" cy="2689281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rcRect r="67285"/>
            <a:stretch>
              <a:fillRect/>
            </a:stretch>
          </p:blipFill>
          <p:spPr>
            <a:xfrm>
              <a:off x="7226299" y="3429001"/>
              <a:ext cx="1486695" cy="2596590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3"/>
            <a:srcRect r="67285" b="8751"/>
            <a:stretch>
              <a:fillRect/>
            </a:stretch>
          </p:blipFill>
          <p:spPr>
            <a:xfrm>
              <a:off x="7929165" y="3752815"/>
              <a:ext cx="1350729" cy="2152685"/>
            </a:xfrm>
            <a:prstGeom prst="rect">
              <a:avLst/>
            </a:prstGeom>
            <a:effectLst>
              <a:outerShdw blurRad="127000" dist="127000" dir="13500000" algn="br" rotWithShape="0">
                <a:prstClr val="black">
                  <a:alpha val="20000"/>
                </a:prstClr>
              </a:outerShdw>
              <a:reflection blurRad="6350" stA="20000" endPos="10000" dir="5400000" sy="-100000" algn="bl" rotWithShape="0"/>
            </a:effectLst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25" y="0"/>
            <a:ext cx="12189350" cy="6858000"/>
          </a:xfrm>
          <a:prstGeom prst="rect">
            <a:avLst/>
          </a:prstGeom>
        </p:spPr>
      </p:pic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图片 1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rcRect l="32848"/>
          <a:stretch>
            <a:fillRect/>
          </a:stretch>
        </p:blipFill>
        <p:spPr>
          <a:xfrm>
            <a:off x="9157183" y="4246134"/>
            <a:ext cx="2749614" cy="2296815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8208139" y="4719190"/>
            <a:ext cx="1518301" cy="1653048"/>
            <a:chOff x="7053360" y="5944015"/>
            <a:chExt cx="1613056" cy="1756212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"/>
                      </a14:imgEffect>
                    </a14:imgLayer>
                  </a14:imgProps>
                </a:ext>
              </a:extLst>
            </a:blip>
            <a:srcRect t="14564" r="67285" b="8746"/>
            <a:stretch>
              <a:fillRect/>
            </a:stretch>
          </p:blipFill>
          <p:spPr>
            <a:xfrm>
              <a:off x="7053360" y="5944015"/>
              <a:ext cx="1205349" cy="1614488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"/>
                      </a14:imgEffect>
                    </a14:imgLayer>
                  </a14:imgProps>
                </a:ext>
              </a:extLst>
            </a:blip>
            <a:srcRect t="14564" r="67285" b="8746"/>
            <a:stretch>
              <a:fillRect/>
            </a:stretch>
          </p:blipFill>
          <p:spPr>
            <a:xfrm>
              <a:off x="7461066" y="6085739"/>
              <a:ext cx="1205350" cy="1614488"/>
            </a:xfrm>
            <a:prstGeom prst="rect">
              <a:avLst/>
            </a:prstGeom>
            <a:effectLst>
              <a:outerShdw blurRad="127000" dist="127000" dir="13500000" algn="br" rotWithShape="0">
                <a:prstClr val="black">
                  <a:alpha val="20000"/>
                </a:prstClr>
              </a:outerShdw>
              <a:reflection blurRad="6350" stA="20000" endPos="10000" dir="5400000" sy="-100000" algn="bl" rotWithShape="0"/>
            </a:effectLst>
          </p:spPr>
        </p:pic>
      </p:grpSp>
      <p:sp>
        <p:nvSpPr>
          <p:cNvPr id="6" name="文本框 5"/>
          <p:cNvSpPr txBox="1"/>
          <p:nvPr/>
        </p:nvSpPr>
        <p:spPr>
          <a:xfrm>
            <a:off x="158750" y="5141595"/>
            <a:ext cx="6096000" cy="157670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60000"/>
              </a:lnSpc>
            </a:pPr>
            <a:r>
              <a:rPr lang="en-US" altLang="zh-CN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CDE</a:t>
            </a:r>
            <a:r>
              <a:rPr lang="zh-CN" altLang="en-US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优先审评审批品种</a:t>
            </a:r>
            <a:endParaRPr lang="zh-CN" altLang="en-US" sz="1700" b="1">
              <a:solidFill>
                <a:srgbClr val="0971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仿宋" panose="02010600040101010101" charset="-122"/>
              <a:ea typeface="华文仿宋" panose="02010600040101010101" charset="-122"/>
              <a:cs typeface="华文仿宋" panose="02010600040101010101" charset="-122"/>
              <a:sym typeface="+mn-ea"/>
            </a:endParaRPr>
          </a:p>
          <a:p>
            <a:pPr>
              <a:lnSpc>
                <a:spcPct val="160000"/>
              </a:lnSpc>
            </a:pPr>
            <a:r>
              <a:rPr lang="en-US" altLang="zh-CN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FDA</a:t>
            </a:r>
            <a:r>
              <a:rPr lang="zh-CN" altLang="en-US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时隔10年首个全新分子抗过敏滴眼液</a:t>
            </a:r>
            <a:endParaRPr lang="zh-CN" altLang="en-US" sz="1700" b="1" dirty="0">
              <a:solidFill>
                <a:srgbClr val="0971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仿宋" panose="02010600040101010101" charset="-122"/>
              <a:ea typeface="华文仿宋" panose="02010600040101010101" charset="-122"/>
              <a:cs typeface="华文仿宋" panose="02010600040101010101" charset="-122"/>
              <a:sym typeface="+mn-ea"/>
            </a:endParaRPr>
          </a:p>
          <a:p>
            <a:pPr>
              <a:lnSpc>
                <a:spcPct val="160000"/>
              </a:lnSpc>
            </a:pPr>
            <a:r>
              <a:rPr lang="zh-CN" altLang="en-US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全球首个且唯一</a:t>
            </a:r>
            <a:r>
              <a:rPr lang="en-US" altLang="zh-CN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FDA/NMPA</a:t>
            </a:r>
            <a:r>
              <a:rPr lang="zh-CN" altLang="en-US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批准的</a:t>
            </a:r>
            <a:r>
              <a:rPr lang="zh-CN" altLang="en-US" sz="1700" b="1">
                <a:solidFill>
                  <a:srgbClr val="E100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幼儿</a:t>
            </a:r>
            <a:r>
              <a:rPr lang="zh-CN" altLang="en-US" sz="1700" b="1">
                <a:solidFill>
                  <a:srgbClr val="0971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仿宋" panose="02010600040101010101" charset="-122"/>
                <a:ea typeface="华文仿宋" panose="02010600040101010101" charset="-122"/>
                <a:cs typeface="华文仿宋" panose="02010600040101010101" charset="-122"/>
                <a:sym typeface="+mn-ea"/>
              </a:rPr>
              <a:t>可用抗过敏滴眼液</a:t>
            </a:r>
            <a:endParaRPr lang="zh-CN" altLang="en-US" sz="1700" b="1">
              <a:solidFill>
                <a:srgbClr val="0971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仿宋" panose="02010600040101010101" charset="-122"/>
              <a:ea typeface="华文仿宋" panose="02010600040101010101" charset="-122"/>
              <a:cs typeface="华文仿宋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2057400" y="163800"/>
            <a:ext cx="10100310" cy="8299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1755" indent="0">
              <a:buNone/>
            </a:pPr>
            <a:r>
              <a:rPr lang="zh-CN" altLang="en-US" sz="2400" b="1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新一代双靶点抗过敏滴眼液，创新纳米胶束技术，填补</a:t>
            </a:r>
            <a:r>
              <a:rPr lang="zh-CN" altLang="en-US" sz="2400" b="1">
                <a:solidFill>
                  <a:srgbClr val="E1007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幼儿</a:t>
            </a:r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过敏</a:t>
            </a:r>
            <a:r>
              <a:rPr lang="zh-CN" altLang="en-US" sz="2400" b="1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性结膜炎局部用药空白</a:t>
            </a:r>
            <a:endParaRPr lang="zh-CN" altLang="en-US" sz="2400" b="1">
              <a:gradFill>
                <a:gsLst>
                  <a:gs pos="100000">
                    <a:schemeClr val="tx1"/>
                  </a:gs>
                  <a:gs pos="0">
                    <a:schemeClr val="tx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74650" y="6243419"/>
            <a:ext cx="11442700" cy="43954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 Meier EJ, Torkildsen GL, Gomes PJ, et al. Phase III trials examining the efficacy of cetirizine ophthalmic solution 0.24% compared to vehicle for the treatment of allergic conjunctivitis in the conjunctival allergen challenge model[J]. Clin Ophthalmol, 2018, 12: 2617-2628.  2.  Kavanagh JT. Blurred Lines: The Interaction and Overlap of Ocular Allergy and Dry Eye[J]. Ophthalmology360, 2025. ; 3.Malhotra RP, Meier E, Torkildsen G, et al. Safety of cetirizine ophthalmic solution 0.24% for the treatment of allergic conjunctivitis in adult and pediatric subjects[J]. Clin Ophthalmol, 2019, 13: 403-413.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；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4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国内 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III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期注册临床试验报告（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NMPA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，2022，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N=296，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阳性对照依美斯汀）；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5.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张钰鑫。盐酸西替利嗪滴眼液在过敏性结膜炎治疗中的安全性和有效性研究 [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J]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中国实用眼科杂志，2025,；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6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产品说明书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grpSp>
        <p:nvGrpSpPr>
          <p:cNvPr id="126" name="组合 125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47" name="任意多边形: 形状 46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51" name="任意多边形: 形状 50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基本信息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374650" y="1106371"/>
            <a:ext cx="11448394" cy="1244951"/>
            <a:chOff x="374650" y="1169871"/>
            <a:chExt cx="11448394" cy="1244951"/>
          </a:xfrm>
        </p:grpSpPr>
        <p:sp>
          <p:nvSpPr>
            <p:cNvPr id="41" name="图形 31"/>
            <p:cNvSpPr/>
            <p:nvPr/>
          </p:nvSpPr>
          <p:spPr>
            <a:xfrm>
              <a:off x="374650" y="1169872"/>
              <a:ext cx="11448394" cy="1244950"/>
            </a:xfrm>
            <a:custGeom>
              <a:avLst/>
              <a:gdLst>
                <a:gd name="csX0" fmla="*/ 0 w 11448394"/>
                <a:gd name="csY0" fmla="*/ 622412 h 1244950"/>
                <a:gd name="csX1" fmla="*/ 203397 w 11448394"/>
                <a:gd name="csY1" fmla="*/ 138611 h 1244950"/>
                <a:gd name="csX2" fmla="*/ 412141 w 11448394"/>
                <a:gd name="csY2" fmla="*/ 0 h 1244950"/>
                <a:gd name="csX3" fmla="*/ 11055633 w 11448394"/>
                <a:gd name="csY3" fmla="*/ 0 h 1244950"/>
                <a:gd name="csX4" fmla="*/ 11264249 w 11448394"/>
                <a:gd name="csY4" fmla="*/ 138611 h 1244950"/>
                <a:gd name="csX5" fmla="*/ 11430734 w 11448394"/>
                <a:gd name="csY5" fmla="*/ 534714 h 1244950"/>
                <a:gd name="csX6" fmla="*/ 11430734 w 11448394"/>
                <a:gd name="csY6" fmla="*/ 710237 h 1244950"/>
                <a:gd name="csX7" fmla="*/ 11264249 w 11448394"/>
                <a:gd name="csY7" fmla="*/ 1106340 h 1244950"/>
                <a:gd name="csX8" fmla="*/ 11055633 w 11448394"/>
                <a:gd name="csY8" fmla="*/ 1244951 h 1244950"/>
                <a:gd name="csX9" fmla="*/ 412141 w 11448394"/>
                <a:gd name="csY9" fmla="*/ 1244951 h 1244950"/>
                <a:gd name="csX10" fmla="*/ 203525 w 11448394"/>
                <a:gd name="csY10" fmla="*/ 1106340 h 1244950"/>
                <a:gd name="csX11" fmla="*/ 0 w 11448394"/>
                <a:gd name="csY11" fmla="*/ 622412 h 1244950"/>
                <a:gd name="csX12" fmla="*/ 0 w 11448394"/>
                <a:gd name="csY12" fmla="*/ 622412 h 12449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11448394" h="1244950">
                  <a:moveTo>
                    <a:pt x="0" y="622412"/>
                  </a:move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lnTo>
                    <a:pt x="11055633" y="0"/>
                  </a:lnTo>
                  <a:cubicBezTo>
                    <a:pt x="11146767" y="0"/>
                    <a:pt x="11228992" y="54604"/>
                    <a:pt x="11264249" y="138611"/>
                  </a:cubicBezTo>
                  <a:lnTo>
                    <a:pt x="11430734" y="534714"/>
                  </a:lnTo>
                  <a:cubicBezTo>
                    <a:pt x="11454281" y="590846"/>
                    <a:pt x="11454281" y="654105"/>
                    <a:pt x="11430734" y="710237"/>
                  </a:cubicBezTo>
                  <a:lnTo>
                    <a:pt x="11264249" y="1106340"/>
                  </a:lnTo>
                  <a:cubicBezTo>
                    <a:pt x="11228992" y="1190346"/>
                    <a:pt x="11146640" y="1244951"/>
                    <a:pt x="11055633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0" y="622412"/>
                  </a:lnTo>
                  <a:close/>
                </a:path>
              </a:pathLst>
            </a:custGeom>
            <a:noFill/>
            <a:ln w="12725" cap="flat">
              <a:solidFill>
                <a:srgbClr val="8CA9DF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0" name="任意多边形: 形状 39"/>
            <p:cNvSpPr/>
            <p:nvPr/>
          </p:nvSpPr>
          <p:spPr>
            <a:xfrm>
              <a:off x="374651" y="1169871"/>
              <a:ext cx="1496357" cy="1244951"/>
            </a:xfrm>
            <a:custGeom>
              <a:avLst/>
              <a:gdLst>
                <a:gd name="csX0" fmla="*/ 412141 w 1496357"/>
                <a:gd name="csY0" fmla="*/ 0 h 1244951"/>
                <a:gd name="csX1" fmla="*/ 1103596 w 1496357"/>
                <a:gd name="csY1" fmla="*/ 0 h 1244951"/>
                <a:gd name="csX2" fmla="*/ 1312212 w 1496357"/>
                <a:gd name="csY2" fmla="*/ 138611 h 1244951"/>
                <a:gd name="csX3" fmla="*/ 1478697 w 1496357"/>
                <a:gd name="csY3" fmla="*/ 534714 h 1244951"/>
                <a:gd name="csX4" fmla="*/ 1478697 w 1496357"/>
                <a:gd name="csY4" fmla="*/ 710237 h 1244951"/>
                <a:gd name="csX5" fmla="*/ 1312212 w 1496357"/>
                <a:gd name="csY5" fmla="*/ 1106340 h 1244951"/>
                <a:gd name="csX6" fmla="*/ 1103596 w 1496357"/>
                <a:gd name="csY6" fmla="*/ 1244951 h 1244951"/>
                <a:gd name="csX7" fmla="*/ 412141 w 1496357"/>
                <a:gd name="csY7" fmla="*/ 1244951 h 1244951"/>
                <a:gd name="csX8" fmla="*/ 203525 w 1496357"/>
                <a:gd name="csY8" fmla="*/ 1106340 h 1244951"/>
                <a:gd name="csX9" fmla="*/ 0 w 1496357"/>
                <a:gd name="csY9" fmla="*/ 622412 h 1244951"/>
                <a:gd name="csX10" fmla="*/ 203397 w 1496357"/>
                <a:gd name="csY10" fmla="*/ 138611 h 1244951"/>
                <a:gd name="csX11" fmla="*/ 412141 w 1496357"/>
                <a:gd name="csY11" fmla="*/ 0 h 124495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1496357" h="1244951">
                  <a:moveTo>
                    <a:pt x="412141" y="0"/>
                  </a:moveTo>
                  <a:lnTo>
                    <a:pt x="1103596" y="0"/>
                  </a:lnTo>
                  <a:cubicBezTo>
                    <a:pt x="1194730" y="0"/>
                    <a:pt x="1276955" y="54604"/>
                    <a:pt x="1312212" y="138611"/>
                  </a:cubicBezTo>
                  <a:lnTo>
                    <a:pt x="1478697" y="534714"/>
                  </a:lnTo>
                  <a:cubicBezTo>
                    <a:pt x="1502244" y="590846"/>
                    <a:pt x="1502244" y="654105"/>
                    <a:pt x="1478697" y="710237"/>
                  </a:cubicBezTo>
                  <a:lnTo>
                    <a:pt x="1312212" y="1106340"/>
                  </a:lnTo>
                  <a:cubicBezTo>
                    <a:pt x="1276955" y="1190346"/>
                    <a:pt x="1194603" y="1244951"/>
                    <a:pt x="1103596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close/>
                </a:path>
              </a:pathLst>
            </a:custGeom>
            <a:solidFill>
              <a:srgbClr val="0971CA">
                <a:alpha val="10000"/>
              </a:srgbClr>
            </a:solidFill>
            <a:effectLst/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>
                <a:solidFill>
                  <a:schemeClr val="accent1">
                    <a:alpha val="20000"/>
                  </a:schemeClr>
                </a:solidFill>
              </a:endParaRPr>
            </a:p>
          </p:txBody>
        </p:sp>
      </p:grpSp>
      <p:grpSp>
        <p:nvGrpSpPr>
          <p:cNvPr id="96" name="组合 95"/>
          <p:cNvGrpSpPr/>
          <p:nvPr>
            <p:custDataLst>
              <p:tags r:id="rId1"/>
            </p:custDataLst>
          </p:nvPr>
        </p:nvGrpSpPr>
        <p:grpSpPr>
          <a:xfrm>
            <a:off x="368935" y="3802288"/>
            <a:ext cx="11448394" cy="1244951"/>
            <a:chOff x="374650" y="3960800"/>
            <a:chExt cx="11448394" cy="1244951"/>
          </a:xfrm>
        </p:grpSpPr>
        <p:sp>
          <p:nvSpPr>
            <p:cNvPr id="43" name="图形 33"/>
            <p:cNvSpPr/>
            <p:nvPr/>
          </p:nvSpPr>
          <p:spPr>
            <a:xfrm>
              <a:off x="374650" y="3960801"/>
              <a:ext cx="11448394" cy="1244950"/>
            </a:xfrm>
            <a:custGeom>
              <a:avLst/>
              <a:gdLst>
                <a:gd name="csX0" fmla="*/ 0 w 11448394"/>
                <a:gd name="csY0" fmla="*/ 622412 h 1244950"/>
                <a:gd name="csX1" fmla="*/ 203397 w 11448394"/>
                <a:gd name="csY1" fmla="*/ 138611 h 1244950"/>
                <a:gd name="csX2" fmla="*/ 412141 w 11448394"/>
                <a:gd name="csY2" fmla="*/ 0 h 1244950"/>
                <a:gd name="csX3" fmla="*/ 11055633 w 11448394"/>
                <a:gd name="csY3" fmla="*/ 0 h 1244950"/>
                <a:gd name="csX4" fmla="*/ 11264249 w 11448394"/>
                <a:gd name="csY4" fmla="*/ 138611 h 1244950"/>
                <a:gd name="csX5" fmla="*/ 11430734 w 11448394"/>
                <a:gd name="csY5" fmla="*/ 534714 h 1244950"/>
                <a:gd name="csX6" fmla="*/ 11430734 w 11448394"/>
                <a:gd name="csY6" fmla="*/ 710237 h 1244950"/>
                <a:gd name="csX7" fmla="*/ 11264249 w 11448394"/>
                <a:gd name="csY7" fmla="*/ 1106340 h 1244950"/>
                <a:gd name="csX8" fmla="*/ 11055633 w 11448394"/>
                <a:gd name="csY8" fmla="*/ 1244951 h 1244950"/>
                <a:gd name="csX9" fmla="*/ 412141 w 11448394"/>
                <a:gd name="csY9" fmla="*/ 1244951 h 1244950"/>
                <a:gd name="csX10" fmla="*/ 203525 w 11448394"/>
                <a:gd name="csY10" fmla="*/ 1106340 h 1244950"/>
                <a:gd name="csX11" fmla="*/ 0 w 11448394"/>
                <a:gd name="csY11" fmla="*/ 622412 h 1244950"/>
                <a:gd name="csX12" fmla="*/ 0 w 11448394"/>
                <a:gd name="csY12" fmla="*/ 622412 h 12449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11448394" h="1244950">
                  <a:moveTo>
                    <a:pt x="0" y="622412"/>
                  </a:move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lnTo>
                    <a:pt x="11055633" y="0"/>
                  </a:lnTo>
                  <a:cubicBezTo>
                    <a:pt x="11146767" y="0"/>
                    <a:pt x="11228992" y="54604"/>
                    <a:pt x="11264249" y="138611"/>
                  </a:cubicBezTo>
                  <a:lnTo>
                    <a:pt x="11430734" y="534714"/>
                  </a:lnTo>
                  <a:cubicBezTo>
                    <a:pt x="11454281" y="590846"/>
                    <a:pt x="11454281" y="654105"/>
                    <a:pt x="11430734" y="710237"/>
                  </a:cubicBezTo>
                  <a:lnTo>
                    <a:pt x="11264249" y="1106340"/>
                  </a:lnTo>
                  <a:cubicBezTo>
                    <a:pt x="11228992" y="1190346"/>
                    <a:pt x="11146640" y="1244951"/>
                    <a:pt x="11055633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0" y="622412"/>
                  </a:lnTo>
                  <a:close/>
                </a:path>
              </a:pathLst>
            </a:custGeom>
            <a:noFill/>
            <a:ln w="12725" cap="flat">
              <a:solidFill>
                <a:srgbClr val="8CA9DF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374651" y="3960800"/>
              <a:ext cx="1496357" cy="1244951"/>
            </a:xfrm>
            <a:custGeom>
              <a:avLst/>
              <a:gdLst>
                <a:gd name="csX0" fmla="*/ 412141 w 1496357"/>
                <a:gd name="csY0" fmla="*/ 0 h 1244951"/>
                <a:gd name="csX1" fmla="*/ 1103596 w 1496357"/>
                <a:gd name="csY1" fmla="*/ 0 h 1244951"/>
                <a:gd name="csX2" fmla="*/ 1312212 w 1496357"/>
                <a:gd name="csY2" fmla="*/ 138611 h 1244951"/>
                <a:gd name="csX3" fmla="*/ 1478697 w 1496357"/>
                <a:gd name="csY3" fmla="*/ 534714 h 1244951"/>
                <a:gd name="csX4" fmla="*/ 1478697 w 1496357"/>
                <a:gd name="csY4" fmla="*/ 710237 h 1244951"/>
                <a:gd name="csX5" fmla="*/ 1312212 w 1496357"/>
                <a:gd name="csY5" fmla="*/ 1106340 h 1244951"/>
                <a:gd name="csX6" fmla="*/ 1103596 w 1496357"/>
                <a:gd name="csY6" fmla="*/ 1244951 h 1244951"/>
                <a:gd name="csX7" fmla="*/ 412141 w 1496357"/>
                <a:gd name="csY7" fmla="*/ 1244951 h 1244951"/>
                <a:gd name="csX8" fmla="*/ 203525 w 1496357"/>
                <a:gd name="csY8" fmla="*/ 1106340 h 1244951"/>
                <a:gd name="csX9" fmla="*/ 0 w 1496357"/>
                <a:gd name="csY9" fmla="*/ 622412 h 1244951"/>
                <a:gd name="csX10" fmla="*/ 203397 w 1496357"/>
                <a:gd name="csY10" fmla="*/ 138611 h 1244951"/>
                <a:gd name="csX11" fmla="*/ 412141 w 1496357"/>
                <a:gd name="csY11" fmla="*/ 0 h 124495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1496357" h="1244951">
                  <a:moveTo>
                    <a:pt x="412141" y="0"/>
                  </a:moveTo>
                  <a:lnTo>
                    <a:pt x="1103596" y="0"/>
                  </a:lnTo>
                  <a:cubicBezTo>
                    <a:pt x="1194730" y="0"/>
                    <a:pt x="1276955" y="54604"/>
                    <a:pt x="1312212" y="138611"/>
                  </a:cubicBezTo>
                  <a:lnTo>
                    <a:pt x="1478697" y="534714"/>
                  </a:lnTo>
                  <a:cubicBezTo>
                    <a:pt x="1502244" y="590846"/>
                    <a:pt x="1502244" y="654105"/>
                    <a:pt x="1478697" y="710237"/>
                  </a:cubicBezTo>
                  <a:lnTo>
                    <a:pt x="1312212" y="1106340"/>
                  </a:lnTo>
                  <a:cubicBezTo>
                    <a:pt x="1276955" y="1190346"/>
                    <a:pt x="1194603" y="1244951"/>
                    <a:pt x="1103596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close/>
                </a:path>
              </a:pathLst>
            </a:custGeom>
            <a:solidFill>
              <a:srgbClr val="0971CA">
                <a:alpha val="10000"/>
              </a:srgbClr>
            </a:solidFill>
            <a:effectLst/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>
                <a:solidFill>
                  <a:schemeClr val="accent1">
                    <a:alpha val="20000"/>
                  </a:schemeClr>
                </a:solidFill>
              </a:endParaRPr>
            </a:p>
          </p:txBody>
        </p:sp>
        <p:grpSp>
          <p:nvGrpSpPr>
            <p:cNvPr id="82" name="组合 81"/>
            <p:cNvGrpSpPr/>
            <p:nvPr/>
          </p:nvGrpSpPr>
          <p:grpSpPr>
            <a:xfrm>
              <a:off x="1947545" y="4106803"/>
              <a:ext cx="2168385" cy="1002856"/>
              <a:chOff x="1947545" y="4106803"/>
              <a:chExt cx="2168385" cy="1002856"/>
            </a:xfrm>
          </p:grpSpPr>
          <p:sp>
            <p:nvSpPr>
              <p:cNvPr id="62" name="文本框 61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1947545" y="4106803"/>
                <a:ext cx="205281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indent="0" algn="ctr">
                  <a:buClr>
                    <a:srgbClr val="0971CA"/>
                  </a:buClr>
                  <a:buFont typeface="Wingdings" panose="05000000000000000000" pitchFamily="2" charset="2"/>
                  <a:buNone/>
                  <a:defRPr sz="1600" b="1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1"/>
                        </a:gs>
                      </a:gsLst>
                      <a:lin ang="5400000" scaled="0"/>
                    </a:gradFill>
                    <a:latin typeface="+mn-ea"/>
                    <a:cs typeface="微软雅黑" panose="020B0503020204020204" pitchFamily="34" charset="-122"/>
                  </a:defRPr>
                </a:lvl1pPr>
              </a:lstStyle>
              <a:p>
                <a:pPr marL="285750" indent="-285750">
                  <a:buFont typeface="Wingdings" panose="05000000000000000000" charset="0"/>
                  <a:buChar char="n"/>
                </a:pPr>
                <a:r>
                  <a:rPr lang="zh-CN" altLang="en-US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sym typeface="+mn-ea"/>
                  </a:rPr>
                  <a:t>适用人群创新</a:t>
                </a:r>
                <a:endParaRPr lang="en-US" altLang="zh-CN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sym typeface="+mn-ea"/>
                </a:endParaRPr>
              </a:p>
            </p:txBody>
          </p:sp>
          <p:sp>
            <p:nvSpPr>
              <p:cNvPr id="63" name="文本框 62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2063116" y="4459419"/>
                <a:ext cx="2052814" cy="6502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0" algn="ctr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zh-CN" altLang="en-US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+mn-ea"/>
                  </a:rPr>
                  <a:t>中国获批</a:t>
                </a:r>
                <a:r>
                  <a:rPr lang="zh-CN" altLang="en-US" sz="1400" b="1" dirty="0">
                    <a:latin typeface="+mn-ea"/>
                  </a:rPr>
                  <a:t>幼儿</a:t>
                </a:r>
                <a:r>
                  <a:rPr lang="zh-CN" altLang="en-US" sz="1400" b="1" dirty="0">
                    <a:solidFill>
                      <a:schemeClr val="tx1"/>
                    </a:solidFill>
                    <a:latin typeface="+mn-ea"/>
                  </a:rPr>
                  <a:t>可用</a:t>
                </a:r>
                <a:r>
                  <a:rPr lang="zh-CN" altLang="en-US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+mn-ea"/>
                  </a:rPr>
                  <a:t>的</a:t>
                </a:r>
                <a:endParaRPr lang="en-US" altLang="zh-CN" sz="14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</a:endParaRPr>
              </a:p>
              <a:p>
                <a:pPr indent="0" algn="ctr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zh-CN" altLang="en-US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+mn-ea"/>
                  </a:rPr>
                  <a:t>抗过敏滴眼液</a:t>
                </a:r>
                <a:endParaRPr lang="en-US" altLang="zh-CN" sz="14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</a:endParaRPr>
              </a:p>
            </p:txBody>
          </p:sp>
        </p:grpSp>
        <p:grpSp>
          <p:nvGrpSpPr>
            <p:cNvPr id="78" name="组合 77"/>
            <p:cNvGrpSpPr/>
            <p:nvPr/>
          </p:nvGrpSpPr>
          <p:grpSpPr>
            <a:xfrm>
              <a:off x="4308733" y="4121944"/>
              <a:ext cx="2148700" cy="987715"/>
              <a:chOff x="4236422" y="4121944"/>
              <a:chExt cx="2148700" cy="987715"/>
            </a:xfrm>
          </p:grpSpPr>
          <p:sp>
            <p:nvSpPr>
              <p:cNvPr id="64" name="文本框 63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4236422" y="4121944"/>
                <a:ext cx="205281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indent="0" algn="ctr">
                  <a:buClr>
                    <a:srgbClr val="0971CA"/>
                  </a:buClr>
                  <a:buFont typeface="Wingdings" panose="05000000000000000000" pitchFamily="2" charset="2"/>
                  <a:buNone/>
                  <a:defRPr sz="1600" b="1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1"/>
                        </a:gs>
                      </a:gsLst>
                      <a:lin ang="5400000" scaled="0"/>
                    </a:gradFill>
                    <a:latin typeface="+mn-ea"/>
                    <a:cs typeface="微软雅黑" panose="020B0503020204020204" pitchFamily="34" charset="-122"/>
                  </a:defRPr>
                </a:lvl1pPr>
              </a:lstStyle>
              <a:p>
                <a:pPr marL="285750" indent="-285750">
                  <a:buFont typeface="Wingdings" panose="05000000000000000000" charset="0"/>
                  <a:buChar char="n"/>
                </a:pPr>
                <a:r>
                  <a:rPr lang="zh-CN" altLang="en-US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sym typeface="+mn-ea"/>
                  </a:rPr>
                  <a:t>药理机制创新</a:t>
                </a:r>
                <a:endParaRPr lang="en-US" altLang="zh-CN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sym typeface="+mn-ea"/>
                </a:endParaRPr>
              </a:p>
            </p:txBody>
          </p:sp>
          <p:sp>
            <p:nvSpPr>
              <p:cNvPr id="65" name="文本框 64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4332308" y="4459419"/>
                <a:ext cx="2052814" cy="6502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0" algn="ctr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zh-CN" altLang="en-US" sz="1400" b="1">
                    <a:solidFill>
                      <a:srgbClr val="0971CA"/>
                    </a:solidFill>
                    <a:latin typeface="+mn-ea"/>
                  </a:rPr>
                  <a:t>抗组胺</a:t>
                </a:r>
                <a:r>
                  <a:rPr lang="en-US" altLang="zh-CN" sz="1400" b="1">
                    <a:solidFill>
                      <a:srgbClr val="0971CA"/>
                    </a:solidFill>
                    <a:latin typeface="+mn-ea"/>
                  </a:rPr>
                  <a:t>+</a:t>
                </a:r>
                <a:r>
                  <a:rPr lang="zh-CN" altLang="en-US" sz="1400" b="1">
                    <a:solidFill>
                      <a:srgbClr val="0971CA"/>
                    </a:solidFill>
                    <a:latin typeface="+mn-ea"/>
                  </a:rPr>
                  <a:t>稳定肥大细胞双靶点</a:t>
                </a:r>
                <a:endParaRPr lang="zh-CN" altLang="en-US" sz="1400" b="1">
                  <a:solidFill>
                    <a:srgbClr val="0971CA"/>
                  </a:solidFill>
                  <a:latin typeface="+mn-ea"/>
                </a:endParaRPr>
              </a:p>
            </p:txBody>
          </p:sp>
        </p:grpSp>
        <p:grpSp>
          <p:nvGrpSpPr>
            <p:cNvPr id="74" name="组合 73"/>
            <p:cNvGrpSpPr/>
            <p:nvPr/>
          </p:nvGrpSpPr>
          <p:grpSpPr>
            <a:xfrm>
              <a:off x="6649601" y="4108708"/>
              <a:ext cx="2149335" cy="1051944"/>
              <a:chOff x="6504979" y="4108708"/>
              <a:chExt cx="2149335" cy="1051944"/>
            </a:xfrm>
          </p:grpSpPr>
          <p:sp>
            <p:nvSpPr>
              <p:cNvPr id="66" name="文本框 65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6504979" y="4108708"/>
                <a:ext cx="205281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indent="0" algn="ctr">
                  <a:buClr>
                    <a:srgbClr val="0971CA"/>
                  </a:buClr>
                  <a:buFont typeface="Wingdings" panose="05000000000000000000" pitchFamily="2" charset="2"/>
                  <a:buNone/>
                  <a:defRPr sz="1600" b="1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1"/>
                        </a:gs>
                      </a:gsLst>
                      <a:lin ang="5400000" scaled="0"/>
                    </a:gradFill>
                    <a:latin typeface="+mn-ea"/>
                    <a:cs typeface="微软雅黑" panose="020B0503020204020204" pitchFamily="34" charset="-122"/>
                  </a:defRPr>
                </a:lvl1pPr>
              </a:lstStyle>
              <a:p>
                <a:pPr marL="285750" indent="-285750">
                  <a:buFont typeface="Wingdings" panose="05000000000000000000" charset="0"/>
                  <a:buChar char="n"/>
                </a:pPr>
                <a:r>
                  <a:rPr lang="zh-CN" altLang="en-US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sym typeface="+mn-ea"/>
                  </a:rPr>
                  <a:t>制剂技术创新</a:t>
                </a:r>
                <a:endParaRPr lang="en-US" altLang="zh-CN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sym typeface="+mn-ea"/>
                </a:endParaRPr>
              </a:p>
            </p:txBody>
          </p:sp>
          <p:sp>
            <p:nvSpPr>
              <p:cNvPr id="67" name="文本框 66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6601500" y="4459419"/>
                <a:ext cx="2052814" cy="7012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0" algn="ctr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en-US" altLang="zh-CN" sz="1400" b="1">
                    <a:solidFill>
                      <a:srgbClr val="0971CA"/>
                    </a:solidFill>
                    <a:latin typeface="+mn-ea"/>
                  </a:rPr>
                  <a:t>Hydrella</a:t>
                </a:r>
                <a:r>
                  <a:rPr lang="zh-CN" altLang="en-US" sz="1400" b="1">
                    <a:solidFill>
                      <a:srgbClr val="0971CA"/>
                    </a:solidFill>
                    <a:latin typeface="+mn-ea"/>
                  </a:rPr>
                  <a:t>纳米胶束体系</a:t>
                </a:r>
                <a:r>
                  <a:rPr lang="zh-CN" altLang="en-US" sz="1400" b="1">
                    <a:solidFill>
                      <a:schemeClr val="tx1"/>
                    </a:solidFill>
                    <a:latin typeface="+mn-ea"/>
                    <a:sym typeface="+mn-ea"/>
                  </a:rPr>
                  <a:t>（专利</a:t>
                </a:r>
                <a:r>
                  <a:rPr lang="en-US" altLang="zh-CN" sz="1400" b="1">
                    <a:solidFill>
                      <a:schemeClr val="tx1"/>
                    </a:solidFill>
                    <a:latin typeface="+mn-ea"/>
                    <a:sym typeface="+mn-ea"/>
                  </a:rPr>
                  <a:t>US9254286B2</a:t>
                </a:r>
                <a:r>
                  <a:rPr lang="zh-CN" altLang="en-US" sz="1400" b="1">
                    <a:solidFill>
                      <a:schemeClr val="tx1"/>
                    </a:solidFill>
                    <a:latin typeface="+mn-ea"/>
                    <a:sym typeface="+mn-ea"/>
                  </a:rPr>
                  <a:t>）</a:t>
                </a:r>
                <a:endParaRPr lang="zh-CN" altLang="en-US" sz="1400" b="1">
                  <a:solidFill>
                    <a:schemeClr val="tx1"/>
                  </a:solidFill>
                  <a:latin typeface="+mn-ea"/>
                  <a:sym typeface="+mn-ea"/>
                </a:endParaRPr>
              </a:p>
            </p:txBody>
          </p:sp>
        </p:grpSp>
        <p:grpSp>
          <p:nvGrpSpPr>
            <p:cNvPr id="73" name="组合 72"/>
            <p:cNvGrpSpPr/>
            <p:nvPr/>
          </p:nvGrpSpPr>
          <p:grpSpPr>
            <a:xfrm>
              <a:off x="9051430" y="4108708"/>
              <a:ext cx="2304599" cy="706120"/>
              <a:chOff x="9051430" y="4108708"/>
              <a:chExt cx="2304599" cy="706120"/>
            </a:xfrm>
          </p:grpSpPr>
          <p:sp>
            <p:nvSpPr>
              <p:cNvPr id="71" name="文本框 70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9051430" y="4108708"/>
                <a:ext cx="205281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 algn="ctr">
                  <a:buClr>
                    <a:srgbClr val="0971CA"/>
                  </a:buClr>
                  <a:buFont typeface="Wingdings" panose="05000000000000000000" charset="0"/>
                  <a:buChar char="n"/>
                </a:pPr>
                <a:r>
                  <a:rPr lang="zh-CN" altLang="en-US" sz="1600" b="1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ea"/>
                    <a:cs typeface="微软雅黑" panose="020B0503020204020204" pitchFamily="34" charset="-122"/>
                    <a:sym typeface="+mn-ea"/>
                  </a:rPr>
                  <a:t>临床应用创新</a:t>
                </a:r>
                <a:endParaRPr lang="en-US" altLang="zh-CN" sz="1600" b="1" baseline="30000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ea"/>
                  <a:cs typeface="微软雅黑" panose="020B0503020204020204" pitchFamily="34" charset="-122"/>
                  <a:sym typeface="+mn-ea"/>
                </a:endParaRPr>
              </a:p>
            </p:txBody>
          </p:sp>
          <p:sp>
            <p:nvSpPr>
              <p:cNvPr id="72" name="文本框 71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9121605" y="4443988"/>
                <a:ext cx="2234424" cy="3708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0" algn="ctr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zh-CN" altLang="en-US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+mn-ea"/>
                    <a:cs typeface="微软雅黑" panose="020B0503020204020204" pitchFamily="34" charset="-122"/>
                    <a:sym typeface="+mn-ea"/>
                  </a:rPr>
                  <a:t>可同步改善鼻眼联动过敏</a:t>
                </a:r>
                <a:r>
                  <a:rPr lang="en-US" altLang="zh-CN" sz="1400" b="1" baseline="300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+mn-ea"/>
                    <a:cs typeface="微软雅黑" panose="020B0503020204020204" pitchFamily="34" charset="-122"/>
                    <a:sym typeface="+mn-ea"/>
                  </a:rPr>
                  <a:t>5</a:t>
                </a:r>
                <a:endParaRPr lang="en-US" altLang="zh-CN" sz="14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</a:endParaRPr>
              </a:p>
            </p:txBody>
          </p:sp>
        </p:grpSp>
        <p:cxnSp>
          <p:nvCxnSpPr>
            <p:cNvPr id="85" name="直接连接符 84"/>
            <p:cNvCxnSpPr/>
            <p:nvPr>
              <p:custDataLst>
                <p:tags r:id="rId10"/>
              </p:custDataLst>
            </p:nvPr>
          </p:nvCxnSpPr>
          <p:spPr>
            <a:xfrm>
              <a:off x="4260274" y="4107026"/>
              <a:ext cx="0" cy="952500"/>
            </a:xfrm>
            <a:prstGeom prst="line">
              <a:avLst/>
            </a:prstGeom>
            <a:ln>
              <a:gradFill>
                <a:gsLst>
                  <a:gs pos="50000">
                    <a:srgbClr val="4874CB"/>
                  </a:gs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接连接符 86"/>
            <p:cNvCxnSpPr/>
            <p:nvPr>
              <p:custDataLst>
                <p:tags r:id="rId11"/>
              </p:custDataLst>
            </p:nvPr>
          </p:nvCxnSpPr>
          <p:spPr>
            <a:xfrm>
              <a:off x="6601777" y="4107026"/>
              <a:ext cx="0" cy="952500"/>
            </a:xfrm>
            <a:prstGeom prst="line">
              <a:avLst/>
            </a:prstGeom>
            <a:ln>
              <a:gradFill>
                <a:gsLst>
                  <a:gs pos="50000">
                    <a:srgbClr val="4874CB"/>
                  </a:gs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连接符 88"/>
            <p:cNvCxnSpPr/>
            <p:nvPr>
              <p:custDataLst>
                <p:tags r:id="rId12"/>
              </p:custDataLst>
            </p:nvPr>
          </p:nvCxnSpPr>
          <p:spPr>
            <a:xfrm>
              <a:off x="8943281" y="4107026"/>
              <a:ext cx="0" cy="952500"/>
            </a:xfrm>
            <a:prstGeom prst="line">
              <a:avLst/>
            </a:prstGeom>
            <a:ln>
              <a:gradFill>
                <a:gsLst>
                  <a:gs pos="50000">
                    <a:srgbClr val="4874CB"/>
                  </a:gs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文本框 96"/>
          <p:cNvSpPr txBox="1"/>
          <p:nvPr/>
        </p:nvSpPr>
        <p:spPr>
          <a:xfrm>
            <a:off x="2023110" y="1169670"/>
            <a:ext cx="9716770" cy="922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971CA"/>
              </a:buClr>
              <a:buFont typeface="Wingdings" panose="05000000000000000000" charset="0"/>
              <a:buChar char="n"/>
            </a:pP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</a:rPr>
              <a:t>给药后</a:t>
            </a:r>
            <a:r>
              <a:rPr lang="en-US" altLang="zh-CN" sz="20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lin ang="5400000" scaled="1"/>
                </a:gradFill>
                <a:latin typeface="+mn-ea"/>
              </a:rPr>
              <a:t>3min</a:t>
            </a: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起效、</a:t>
            </a:r>
            <a:r>
              <a:rPr lang="zh-CN" altLang="en-US" sz="20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lin ang="5400000" scaled="1"/>
                </a:gradFill>
                <a:latin typeface="+mn-ea"/>
              </a:rPr>
              <a:t>15</a:t>
            </a:r>
            <a:r>
              <a:rPr lang="en-US" altLang="zh-CN" sz="20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lin ang="5400000" scaled="1"/>
                </a:gradFill>
                <a:latin typeface="+mn-ea"/>
              </a:rPr>
              <a:t>min</a:t>
            </a: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即可显著降低眼痒、结膜充血（</a:t>
            </a:r>
            <a:r>
              <a:rPr lang="en-US" altLang="zh-CN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P＜0.0001)</a:t>
            </a:r>
            <a:r>
              <a:rPr lang="en-US" altLang="zh-CN" sz="1600" b="1" baseline="30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  <a:sym typeface="+mn-ea"/>
              </a:rPr>
              <a:t>1</a:t>
            </a:r>
            <a:r>
              <a:rPr lang="en-US" altLang="zh-CN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，</a:t>
            </a:r>
            <a:r>
              <a:rPr lang="zh-CN" altLang="en-US" sz="20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lin ang="5400000" scaled="1"/>
                </a:gradFill>
                <a:latin typeface="+mn-ea"/>
              </a:rPr>
              <a:t>8</a:t>
            </a:r>
            <a:r>
              <a:rPr lang="en-US" altLang="zh-CN" sz="20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lin ang="5400000" scaled="1"/>
                </a:gradFill>
                <a:latin typeface="+mn-ea"/>
              </a:rPr>
              <a:t>h</a:t>
            </a: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持续有效，一日</a:t>
            </a:r>
            <a:r>
              <a:rPr lang="en-US" altLang="zh-CN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2</a:t>
            </a: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次；</a:t>
            </a:r>
            <a:endParaRPr lang="zh-CN" altLang="en-US" sz="1600" b="1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+mn-ea"/>
              <a:cs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0971CA"/>
              </a:buClr>
              <a:buFont typeface="Wingdings" panose="05000000000000000000" charset="0"/>
              <a:buChar char="n"/>
            </a:pP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除眼部症状，同步改善鼻眼联动的鼻痒、流涕</a:t>
            </a:r>
            <a:r>
              <a:rPr lang="en-US" altLang="zh-CN" sz="1600" b="1" baseline="30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  <a:sym typeface="+mn-ea"/>
              </a:rPr>
              <a:t>2</a:t>
            </a:r>
            <a:r>
              <a:rPr lang="zh-CN" altLang="en-US"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</a:rPr>
              <a:t>，优于同类眼部用药（依美斯汀、色甘酸钠）</a:t>
            </a:r>
            <a:endParaRPr lang="en-US" altLang="zh-CN" sz="1600" b="1" baseline="300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+mn-ea"/>
              <a:cs typeface="微软雅黑" panose="020B0503020204020204" pitchFamily="34" charset="-122"/>
              <a:sym typeface="+mn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74650" y="2495304"/>
            <a:ext cx="11448394" cy="1163013"/>
            <a:chOff x="590" y="3930"/>
            <a:chExt cx="18029" cy="1961"/>
          </a:xfrm>
        </p:grpSpPr>
        <p:grpSp>
          <p:nvGrpSpPr>
            <p:cNvPr id="9" name="组合 8"/>
            <p:cNvGrpSpPr/>
            <p:nvPr/>
          </p:nvGrpSpPr>
          <p:grpSpPr>
            <a:xfrm>
              <a:off x="14276" y="3930"/>
              <a:ext cx="4343" cy="1961"/>
              <a:chOff x="9065400" y="2495289"/>
              <a:chExt cx="2757644" cy="1244949"/>
            </a:xfrm>
          </p:grpSpPr>
          <p:pic>
            <p:nvPicPr>
              <p:cNvPr id="7" name="图片 6"/>
              <p:cNvPicPr>
                <a:picLocks noChangeAspect="1"/>
              </p:cNvPicPr>
              <p:nvPr/>
            </p:nvPicPr>
            <p:blipFill>
              <a:blip r:embed="rId1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 t="26910" r="9095"/>
              <a:stretch>
                <a:fillRect/>
              </a:stretch>
            </p:blipFill>
            <p:spPr>
              <a:xfrm>
                <a:off x="9065400" y="2495289"/>
                <a:ext cx="2757644" cy="1244949"/>
              </a:xfrm>
              <a:custGeom>
                <a:avLst/>
                <a:gdLst>
                  <a:gd name="csX0" fmla="*/ 0 w 2757644"/>
                  <a:gd name="csY0" fmla="*/ 0 h 1244949"/>
                  <a:gd name="csX1" fmla="*/ 2364883 w 2757644"/>
                  <a:gd name="csY1" fmla="*/ 0 h 1244949"/>
                  <a:gd name="csX2" fmla="*/ 2573499 w 2757644"/>
                  <a:gd name="csY2" fmla="*/ 138611 h 1244949"/>
                  <a:gd name="csX3" fmla="*/ 2739984 w 2757644"/>
                  <a:gd name="csY3" fmla="*/ 534714 h 1244949"/>
                  <a:gd name="csX4" fmla="*/ 2739984 w 2757644"/>
                  <a:gd name="csY4" fmla="*/ 710237 h 1244949"/>
                  <a:gd name="csX5" fmla="*/ 2573499 w 2757644"/>
                  <a:gd name="csY5" fmla="*/ 1106340 h 1244949"/>
                  <a:gd name="csX6" fmla="*/ 2430915 w 2757644"/>
                  <a:gd name="csY6" fmla="*/ 1235106 h 1244949"/>
                  <a:gd name="csX7" fmla="*/ 2364896 w 2757644"/>
                  <a:gd name="csY7" fmla="*/ 1244949 h 1244949"/>
                  <a:gd name="csX8" fmla="*/ 0 w 2757644"/>
                  <a:gd name="csY8" fmla="*/ 1244949 h 124494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2757644" h="1244949">
                    <a:moveTo>
                      <a:pt x="0" y="0"/>
                    </a:moveTo>
                    <a:lnTo>
                      <a:pt x="2364883" y="0"/>
                    </a:lnTo>
                    <a:cubicBezTo>
                      <a:pt x="2456017" y="0"/>
                      <a:pt x="2538242" y="54604"/>
                      <a:pt x="2573499" y="138611"/>
                    </a:cubicBezTo>
                    <a:lnTo>
                      <a:pt x="2739984" y="534714"/>
                    </a:lnTo>
                    <a:cubicBezTo>
                      <a:pt x="2763531" y="590846"/>
                      <a:pt x="2763531" y="654105"/>
                      <a:pt x="2739984" y="710237"/>
                    </a:cubicBezTo>
                    <a:lnTo>
                      <a:pt x="2573499" y="1106340"/>
                    </a:lnTo>
                    <a:cubicBezTo>
                      <a:pt x="2547056" y="1169345"/>
                      <a:pt x="2494123" y="1215811"/>
                      <a:pt x="2430915" y="1235106"/>
                    </a:cubicBezTo>
                    <a:lnTo>
                      <a:pt x="2364896" y="1244949"/>
                    </a:lnTo>
                    <a:lnTo>
                      <a:pt x="0" y="1244949"/>
                    </a:lnTo>
                    <a:close/>
                  </a:path>
                </a:pathLst>
              </a:custGeom>
            </p:spPr>
          </p:pic>
          <p:sp>
            <p:nvSpPr>
              <p:cNvPr id="8" name="任意多边形: 形状 7"/>
              <p:cNvSpPr/>
              <p:nvPr/>
            </p:nvSpPr>
            <p:spPr>
              <a:xfrm>
                <a:off x="9065400" y="2495289"/>
                <a:ext cx="2757644" cy="1244949"/>
              </a:xfrm>
              <a:custGeom>
                <a:avLst/>
                <a:gdLst>
                  <a:gd name="csX0" fmla="*/ 0 w 2757644"/>
                  <a:gd name="csY0" fmla="*/ 0 h 1244949"/>
                  <a:gd name="csX1" fmla="*/ 2364883 w 2757644"/>
                  <a:gd name="csY1" fmla="*/ 0 h 1244949"/>
                  <a:gd name="csX2" fmla="*/ 2573499 w 2757644"/>
                  <a:gd name="csY2" fmla="*/ 138611 h 1244949"/>
                  <a:gd name="csX3" fmla="*/ 2739984 w 2757644"/>
                  <a:gd name="csY3" fmla="*/ 534714 h 1244949"/>
                  <a:gd name="csX4" fmla="*/ 2757644 w 2757644"/>
                  <a:gd name="csY4" fmla="*/ 622475 h 1244949"/>
                  <a:gd name="csX5" fmla="*/ 2739984 w 2757644"/>
                  <a:gd name="csY5" fmla="*/ 710236 h 1244949"/>
                  <a:gd name="csX6" fmla="*/ 2573499 w 2757644"/>
                  <a:gd name="csY6" fmla="*/ 1106339 h 1244949"/>
                  <a:gd name="csX7" fmla="*/ 2542233 w 2757644"/>
                  <a:gd name="csY7" fmla="*/ 1157827 h 1244949"/>
                  <a:gd name="csX8" fmla="*/ 2530579 w 2757644"/>
                  <a:gd name="csY8" fmla="*/ 1170835 h 1244949"/>
                  <a:gd name="csX9" fmla="*/ 2498191 w 2757644"/>
                  <a:gd name="csY9" fmla="*/ 1199887 h 1244949"/>
                  <a:gd name="csX10" fmla="*/ 2484167 w 2757644"/>
                  <a:gd name="csY10" fmla="*/ 1209949 h 1244949"/>
                  <a:gd name="csX11" fmla="*/ 2430915 w 2757644"/>
                  <a:gd name="csY11" fmla="*/ 1235105 h 1244949"/>
                  <a:gd name="csX12" fmla="*/ 2364890 w 2757644"/>
                  <a:gd name="csY12" fmla="*/ 1244949 h 1244949"/>
                  <a:gd name="csX13" fmla="*/ 0 w 2757644"/>
                  <a:gd name="csY13" fmla="*/ 1244949 h 124494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</a:cxnLst>
                <a:rect l="l" t="t" r="r" b="b"/>
                <a:pathLst>
                  <a:path w="2757644" h="1244949">
                    <a:moveTo>
                      <a:pt x="0" y="0"/>
                    </a:moveTo>
                    <a:lnTo>
                      <a:pt x="2364883" y="0"/>
                    </a:lnTo>
                    <a:cubicBezTo>
                      <a:pt x="2456017" y="0"/>
                      <a:pt x="2538242" y="54604"/>
                      <a:pt x="2573499" y="138611"/>
                    </a:cubicBezTo>
                    <a:lnTo>
                      <a:pt x="2739984" y="534714"/>
                    </a:lnTo>
                    <a:lnTo>
                      <a:pt x="2757644" y="622475"/>
                    </a:lnTo>
                    <a:lnTo>
                      <a:pt x="2739984" y="710236"/>
                    </a:lnTo>
                    <a:lnTo>
                      <a:pt x="2573499" y="1106339"/>
                    </a:lnTo>
                    <a:lnTo>
                      <a:pt x="2542233" y="1157827"/>
                    </a:lnTo>
                    <a:lnTo>
                      <a:pt x="2530579" y="1170835"/>
                    </a:lnTo>
                    <a:lnTo>
                      <a:pt x="2498191" y="1199887"/>
                    </a:lnTo>
                    <a:lnTo>
                      <a:pt x="2484167" y="1209949"/>
                    </a:lnTo>
                    <a:lnTo>
                      <a:pt x="2430915" y="1235105"/>
                    </a:lnTo>
                    <a:lnTo>
                      <a:pt x="2364890" y="1244949"/>
                    </a:lnTo>
                    <a:lnTo>
                      <a:pt x="0" y="1244949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0"/>
                    </a:schemeClr>
                  </a:gs>
                  <a:gs pos="3000">
                    <a:schemeClr val="bg1"/>
                  </a:gs>
                </a:gsLst>
                <a:lin ang="0" scaled="0"/>
              </a:gradFill>
              <a:ln w="12725" cap="flat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2" name="图形 32"/>
            <p:cNvSpPr/>
            <p:nvPr/>
          </p:nvSpPr>
          <p:spPr>
            <a:xfrm>
              <a:off x="590" y="3930"/>
              <a:ext cx="18029" cy="1961"/>
            </a:xfrm>
            <a:custGeom>
              <a:avLst/>
              <a:gdLst>
                <a:gd name="csX0" fmla="*/ 0 w 11448394"/>
                <a:gd name="csY0" fmla="*/ 622412 h 1244950"/>
                <a:gd name="csX1" fmla="*/ 203397 w 11448394"/>
                <a:gd name="csY1" fmla="*/ 138611 h 1244950"/>
                <a:gd name="csX2" fmla="*/ 412141 w 11448394"/>
                <a:gd name="csY2" fmla="*/ 0 h 1244950"/>
                <a:gd name="csX3" fmla="*/ 11055633 w 11448394"/>
                <a:gd name="csY3" fmla="*/ 0 h 1244950"/>
                <a:gd name="csX4" fmla="*/ 11264249 w 11448394"/>
                <a:gd name="csY4" fmla="*/ 138611 h 1244950"/>
                <a:gd name="csX5" fmla="*/ 11430734 w 11448394"/>
                <a:gd name="csY5" fmla="*/ 534714 h 1244950"/>
                <a:gd name="csX6" fmla="*/ 11430734 w 11448394"/>
                <a:gd name="csY6" fmla="*/ 710237 h 1244950"/>
                <a:gd name="csX7" fmla="*/ 11264249 w 11448394"/>
                <a:gd name="csY7" fmla="*/ 1106340 h 1244950"/>
                <a:gd name="csX8" fmla="*/ 11055633 w 11448394"/>
                <a:gd name="csY8" fmla="*/ 1244951 h 1244950"/>
                <a:gd name="csX9" fmla="*/ 412141 w 11448394"/>
                <a:gd name="csY9" fmla="*/ 1244951 h 1244950"/>
                <a:gd name="csX10" fmla="*/ 203525 w 11448394"/>
                <a:gd name="csY10" fmla="*/ 1106340 h 1244950"/>
                <a:gd name="csX11" fmla="*/ 0 w 11448394"/>
                <a:gd name="csY11" fmla="*/ 622412 h 1244950"/>
                <a:gd name="csX12" fmla="*/ 0 w 11448394"/>
                <a:gd name="csY12" fmla="*/ 622412 h 12449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11448394" h="1244950">
                  <a:moveTo>
                    <a:pt x="0" y="622412"/>
                  </a:move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lnTo>
                    <a:pt x="11055633" y="0"/>
                  </a:lnTo>
                  <a:cubicBezTo>
                    <a:pt x="11146767" y="0"/>
                    <a:pt x="11228992" y="54604"/>
                    <a:pt x="11264249" y="138611"/>
                  </a:cubicBezTo>
                  <a:lnTo>
                    <a:pt x="11430734" y="534714"/>
                  </a:lnTo>
                  <a:cubicBezTo>
                    <a:pt x="11454281" y="590846"/>
                    <a:pt x="11454281" y="654105"/>
                    <a:pt x="11430734" y="710237"/>
                  </a:cubicBezTo>
                  <a:lnTo>
                    <a:pt x="11264249" y="1106340"/>
                  </a:lnTo>
                  <a:cubicBezTo>
                    <a:pt x="11228992" y="1190346"/>
                    <a:pt x="11146640" y="1244951"/>
                    <a:pt x="11055633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0" y="622412"/>
                  </a:lnTo>
                  <a:close/>
                </a:path>
              </a:pathLst>
            </a:custGeom>
            <a:noFill/>
            <a:ln w="12725" cap="flat">
              <a:solidFill>
                <a:srgbClr val="8CA9DF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590" y="3930"/>
              <a:ext cx="2356" cy="1961"/>
            </a:xfrm>
            <a:custGeom>
              <a:avLst/>
              <a:gdLst>
                <a:gd name="csX0" fmla="*/ 412141 w 1496357"/>
                <a:gd name="csY0" fmla="*/ 0 h 1244951"/>
                <a:gd name="csX1" fmla="*/ 1103596 w 1496357"/>
                <a:gd name="csY1" fmla="*/ 0 h 1244951"/>
                <a:gd name="csX2" fmla="*/ 1312212 w 1496357"/>
                <a:gd name="csY2" fmla="*/ 138611 h 1244951"/>
                <a:gd name="csX3" fmla="*/ 1478697 w 1496357"/>
                <a:gd name="csY3" fmla="*/ 534714 h 1244951"/>
                <a:gd name="csX4" fmla="*/ 1478697 w 1496357"/>
                <a:gd name="csY4" fmla="*/ 710237 h 1244951"/>
                <a:gd name="csX5" fmla="*/ 1312212 w 1496357"/>
                <a:gd name="csY5" fmla="*/ 1106340 h 1244951"/>
                <a:gd name="csX6" fmla="*/ 1103596 w 1496357"/>
                <a:gd name="csY6" fmla="*/ 1244951 h 1244951"/>
                <a:gd name="csX7" fmla="*/ 412141 w 1496357"/>
                <a:gd name="csY7" fmla="*/ 1244951 h 1244951"/>
                <a:gd name="csX8" fmla="*/ 203525 w 1496357"/>
                <a:gd name="csY8" fmla="*/ 1106340 h 1244951"/>
                <a:gd name="csX9" fmla="*/ 0 w 1496357"/>
                <a:gd name="csY9" fmla="*/ 622412 h 1244951"/>
                <a:gd name="csX10" fmla="*/ 203397 w 1496357"/>
                <a:gd name="csY10" fmla="*/ 138611 h 1244951"/>
                <a:gd name="csX11" fmla="*/ 412141 w 1496357"/>
                <a:gd name="csY11" fmla="*/ 0 h 124495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1496357" h="1244951">
                  <a:moveTo>
                    <a:pt x="412141" y="0"/>
                  </a:moveTo>
                  <a:lnTo>
                    <a:pt x="1103596" y="0"/>
                  </a:lnTo>
                  <a:cubicBezTo>
                    <a:pt x="1194730" y="0"/>
                    <a:pt x="1276955" y="54604"/>
                    <a:pt x="1312212" y="138611"/>
                  </a:cubicBezTo>
                  <a:lnTo>
                    <a:pt x="1478697" y="534714"/>
                  </a:lnTo>
                  <a:cubicBezTo>
                    <a:pt x="1502244" y="590846"/>
                    <a:pt x="1502244" y="654105"/>
                    <a:pt x="1478697" y="710237"/>
                  </a:cubicBezTo>
                  <a:lnTo>
                    <a:pt x="1312212" y="1106340"/>
                  </a:lnTo>
                  <a:cubicBezTo>
                    <a:pt x="1276955" y="1190346"/>
                    <a:pt x="1194603" y="1244951"/>
                    <a:pt x="1103596" y="1244951"/>
                  </a:cubicBezTo>
                  <a:lnTo>
                    <a:pt x="412141" y="1244951"/>
                  </a:lnTo>
                  <a:cubicBezTo>
                    <a:pt x="321007" y="1244951"/>
                    <a:pt x="238782" y="1190346"/>
                    <a:pt x="203525" y="1106340"/>
                  </a:cubicBezTo>
                  <a:lnTo>
                    <a:pt x="0" y="622412"/>
                  </a:lnTo>
                  <a:lnTo>
                    <a:pt x="203397" y="138611"/>
                  </a:lnTo>
                  <a:cubicBezTo>
                    <a:pt x="238782" y="54604"/>
                    <a:pt x="321007" y="0"/>
                    <a:pt x="412141" y="0"/>
                  </a:cubicBezTo>
                  <a:close/>
                </a:path>
              </a:pathLst>
            </a:custGeom>
            <a:solidFill>
              <a:srgbClr val="0971CA">
                <a:alpha val="10000"/>
              </a:srgbClr>
            </a:solidFill>
            <a:effectLst/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>
                <a:solidFill>
                  <a:schemeClr val="accent1">
                    <a:alpha val="20000"/>
                  </a:schemeClr>
                </a:solidFill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3186" y="4179"/>
              <a:ext cx="7148" cy="13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0971CA"/>
                </a:buClr>
                <a:buFont typeface="Wingdings" panose="05000000000000000000" charset="0"/>
                <a:buChar char="n"/>
              </a:pPr>
              <a:r>
                <a:rPr lang="zh-CN" altLang="en-US" sz="1600" b="1">
                  <a:solidFill>
                    <a:srgbClr val="E1007F"/>
                  </a:solidFill>
                  <a:latin typeface="+mn-ea"/>
                  <a:cs typeface="微软雅黑" panose="020B0503020204020204" pitchFamily="34" charset="-122"/>
                  <a:sym typeface="+mn-ea"/>
                </a:rPr>
                <a:t>幼儿安全性数据与成人一致</a:t>
              </a:r>
              <a:r>
                <a:rPr lang="zh-CN" altLang="en-US" sz="16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  <a:cs typeface="微软雅黑" panose="020B0503020204020204" pitchFamily="34" charset="-122"/>
                  <a:sym typeface="+mn-ea"/>
                </a:rPr>
                <a:t>，无需减量</a:t>
              </a:r>
              <a:r>
                <a:rPr lang="en-US" altLang="zh-CN" sz="1600" b="1" baseline="3000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  <a:cs typeface="微软雅黑" panose="020B0503020204020204" pitchFamily="34" charset="-122"/>
                  <a:sym typeface="+mn-ea"/>
                </a:rPr>
                <a:t>3,4</a:t>
              </a:r>
              <a:endParaRPr lang="en-US" altLang="zh-CN" sz="1600" b="1" baseline="30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  <a:sym typeface="+mn-ea"/>
              </a:endParaRPr>
            </a:p>
            <a:p>
              <a:pPr marL="285750" indent="-285750">
                <a:lnSpc>
                  <a:spcPct val="150000"/>
                </a:lnSpc>
                <a:buClr>
                  <a:srgbClr val="0971CA"/>
                </a:buClr>
                <a:buFont typeface="Wingdings" panose="05000000000000000000" charset="0"/>
                <a:buChar char="n"/>
              </a:pPr>
              <a:r>
                <a:rPr lang="zh-CN" altLang="en-US" sz="1600" b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1"/>
                  </a:gradFill>
                  <a:latin typeface="+mn-ea"/>
                  <a:cs typeface="微软雅黑" panose="020B0503020204020204" pitchFamily="34" charset="-122"/>
                  <a:sym typeface="+mn-ea"/>
                </a:rPr>
                <a:t>全研究无药物相关严重不良事件</a:t>
              </a:r>
              <a:endParaRPr lang="en-US" altLang="zh-CN" sz="1600" b="1" baseline="30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ea"/>
                <a:cs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1100" y="4241"/>
              <a:ext cx="1337" cy="1337"/>
            </a:xfrm>
            <a:prstGeom prst="ellipse">
              <a:avLst/>
            </a:pr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600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latin typeface="+mn-ea"/>
                </a:rPr>
                <a:t>安全性</a:t>
              </a:r>
              <a:endParaRPr lang="zh-CN" altLang="en-US" sz="16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ea"/>
              </a:endParaRPr>
            </a:p>
          </p:txBody>
        </p:sp>
      </p:grpSp>
      <p:sp>
        <p:nvSpPr>
          <p:cNvPr id="11" name="椭圆 10"/>
          <p:cNvSpPr/>
          <p:nvPr/>
        </p:nvSpPr>
        <p:spPr>
          <a:xfrm>
            <a:off x="698190" y="1304207"/>
            <a:ext cx="849278" cy="849278"/>
          </a:xfrm>
          <a:prstGeom prst="ellipse">
            <a:avLst/>
          </a:prstGeom>
        </p:spPr>
        <p:style>
          <a:lnRef idx="2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6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ea"/>
              </a:rPr>
              <a:t>有效性</a:t>
            </a:r>
            <a:endParaRPr lang="zh-CN" altLang="en-US" sz="1600" b="1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atin typeface="+mn-ea"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692475" y="4000124"/>
            <a:ext cx="849278" cy="849278"/>
          </a:xfrm>
          <a:prstGeom prst="ellipse">
            <a:avLst/>
          </a:prstGeom>
        </p:spPr>
        <p:style>
          <a:lnRef idx="2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6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ea"/>
              </a:rPr>
              <a:t>创新性</a:t>
            </a:r>
            <a:endParaRPr lang="zh-CN" altLang="en-US" sz="1600" b="1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atin typeface="+mn-ea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54330" y="5189929"/>
            <a:ext cx="11463020" cy="910516"/>
            <a:chOff x="558" y="8256"/>
            <a:chExt cx="18052" cy="1351"/>
          </a:xfrm>
        </p:grpSpPr>
        <p:grpSp>
          <p:nvGrpSpPr>
            <p:cNvPr id="125" name="组合 124"/>
            <p:cNvGrpSpPr/>
            <p:nvPr/>
          </p:nvGrpSpPr>
          <p:grpSpPr>
            <a:xfrm>
              <a:off x="590" y="8303"/>
              <a:ext cx="18020" cy="1304"/>
              <a:chOff x="374649" y="5325067"/>
              <a:chExt cx="11442700" cy="697340"/>
            </a:xfrm>
            <a:effectLst>
              <a:outerShdw blurRad="63500" dist="63500" dir="5400000" algn="t" rotWithShape="0">
                <a:prstClr val="black">
                  <a:alpha val="10000"/>
                </a:prstClr>
              </a:outerShdw>
            </a:effectLst>
          </p:grpSpPr>
          <p:sp>
            <p:nvSpPr>
              <p:cNvPr id="103" name="任意多边形: 形状 102"/>
              <p:cNvSpPr/>
              <p:nvPr/>
            </p:nvSpPr>
            <p:spPr>
              <a:xfrm>
                <a:off x="374649" y="5325067"/>
                <a:ext cx="11442700" cy="697340"/>
              </a:xfrm>
              <a:custGeom>
                <a:avLst/>
                <a:gdLst>
                  <a:gd name="csX0" fmla="*/ 230855 w 11442700"/>
                  <a:gd name="csY0" fmla="*/ 0 h 697340"/>
                  <a:gd name="csX1" fmla="*/ 386716 w 11442700"/>
                  <a:gd name="csY1" fmla="*/ 0 h 697340"/>
                  <a:gd name="csX2" fmla="*/ 618162 w 11442700"/>
                  <a:gd name="csY2" fmla="*/ 0 h 697340"/>
                  <a:gd name="csX3" fmla="*/ 10835393 w 11442700"/>
                  <a:gd name="csY3" fmla="*/ 0 h 697340"/>
                  <a:gd name="csX4" fmla="*/ 10947400 w 11442700"/>
                  <a:gd name="csY4" fmla="*/ 0 h 697340"/>
                  <a:gd name="csX5" fmla="*/ 11222701 w 11442700"/>
                  <a:gd name="csY5" fmla="*/ 0 h 697340"/>
                  <a:gd name="csX6" fmla="*/ 11339554 w 11442700"/>
                  <a:gd name="csY6" fmla="*/ 77641 h 697340"/>
                  <a:gd name="csX7" fmla="*/ 11432808 w 11442700"/>
                  <a:gd name="csY7" fmla="*/ 299512 h 697340"/>
                  <a:gd name="csX8" fmla="*/ 11432808 w 11442700"/>
                  <a:gd name="csY8" fmla="*/ 397828 h 697340"/>
                  <a:gd name="csX9" fmla="*/ 11339554 w 11442700"/>
                  <a:gd name="csY9" fmla="*/ 619699 h 697340"/>
                  <a:gd name="csX10" fmla="*/ 11222701 w 11442700"/>
                  <a:gd name="csY10" fmla="*/ 697340 h 697340"/>
                  <a:gd name="csX11" fmla="*/ 10947400 w 11442700"/>
                  <a:gd name="csY11" fmla="*/ 697340 h 697340"/>
                  <a:gd name="csX12" fmla="*/ 10835393 w 11442700"/>
                  <a:gd name="csY12" fmla="*/ 697340 h 697340"/>
                  <a:gd name="csX13" fmla="*/ 618162 w 11442700"/>
                  <a:gd name="csY13" fmla="*/ 697340 h 697340"/>
                  <a:gd name="csX14" fmla="*/ 386716 w 11442700"/>
                  <a:gd name="csY14" fmla="*/ 697340 h 697340"/>
                  <a:gd name="csX15" fmla="*/ 230855 w 11442700"/>
                  <a:gd name="csY15" fmla="*/ 697340 h 697340"/>
                  <a:gd name="csX16" fmla="*/ 114002 w 11442700"/>
                  <a:gd name="csY16" fmla="*/ 619699 h 697340"/>
                  <a:gd name="csX17" fmla="*/ 0 w 11442700"/>
                  <a:gd name="csY17" fmla="*/ 348635 h 697340"/>
                  <a:gd name="csX18" fmla="*/ 113930 w 11442700"/>
                  <a:gd name="csY18" fmla="*/ 77641 h 697340"/>
                  <a:gd name="csX19" fmla="*/ 230855 w 11442700"/>
                  <a:gd name="csY19" fmla="*/ 0 h 69734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11442700" h="697340">
                    <a:moveTo>
                      <a:pt x="230855" y="0"/>
                    </a:moveTo>
                    <a:lnTo>
                      <a:pt x="386716" y="0"/>
                    </a:lnTo>
                    <a:lnTo>
                      <a:pt x="618162" y="0"/>
                    </a:lnTo>
                    <a:lnTo>
                      <a:pt x="10835393" y="0"/>
                    </a:lnTo>
                    <a:lnTo>
                      <a:pt x="10947400" y="0"/>
                    </a:lnTo>
                    <a:lnTo>
                      <a:pt x="11222701" y="0"/>
                    </a:lnTo>
                    <a:cubicBezTo>
                      <a:pt x="11273748" y="0"/>
                      <a:pt x="11319805" y="30586"/>
                      <a:pt x="11339554" y="77641"/>
                    </a:cubicBezTo>
                    <a:lnTo>
                      <a:pt x="11432808" y="299512"/>
                    </a:lnTo>
                    <a:cubicBezTo>
                      <a:pt x="11445998" y="330953"/>
                      <a:pt x="11445998" y="366387"/>
                      <a:pt x="11432808" y="397828"/>
                    </a:cubicBezTo>
                    <a:lnTo>
                      <a:pt x="11339554" y="619699"/>
                    </a:lnTo>
                    <a:cubicBezTo>
                      <a:pt x="11319805" y="666754"/>
                      <a:pt x="11273677" y="697340"/>
                      <a:pt x="11222701" y="697340"/>
                    </a:cubicBezTo>
                    <a:lnTo>
                      <a:pt x="10947400" y="697340"/>
                    </a:lnTo>
                    <a:lnTo>
                      <a:pt x="10835393" y="697340"/>
                    </a:lnTo>
                    <a:lnTo>
                      <a:pt x="618162" y="697340"/>
                    </a:lnTo>
                    <a:lnTo>
                      <a:pt x="386716" y="697340"/>
                    </a:lnTo>
                    <a:lnTo>
                      <a:pt x="230855" y="697340"/>
                    </a:lnTo>
                    <a:cubicBezTo>
                      <a:pt x="179807" y="697340"/>
                      <a:pt x="133750" y="666754"/>
                      <a:pt x="114002" y="619699"/>
                    </a:cubicBezTo>
                    <a:lnTo>
                      <a:pt x="0" y="348635"/>
                    </a:lnTo>
                    <a:lnTo>
                      <a:pt x="113930" y="77641"/>
                    </a:lnTo>
                    <a:cubicBezTo>
                      <a:pt x="133750" y="30586"/>
                      <a:pt x="179807" y="0"/>
                      <a:pt x="230855" y="0"/>
                    </a:cubicBezTo>
                    <a:close/>
                  </a:path>
                </a:pathLst>
              </a:custGeom>
              <a:solidFill>
                <a:srgbClr val="EFF7FE"/>
              </a:solidFill>
              <a:ln w="28575">
                <a:solidFill>
                  <a:srgbClr val="0971CA"/>
                </a:solidFill>
              </a:ln>
              <a:effectLst/>
            </p:spPr>
            <p:style>
              <a:lnRef idx="0">
                <a:srgbClr val="FFFFFF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endParaRPr lang="zh-CN" alt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2111374" y="5371422"/>
                <a:ext cx="9301437" cy="5799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0">
                  <a:lnSpc>
                    <a:spcPct val="130000"/>
                  </a:lnSpc>
                  <a:buClr>
                    <a:srgbClr val="0971CA"/>
                  </a:buClr>
                  <a:buFont typeface="Wingdings" panose="05000000000000000000" charset="0"/>
                  <a:buNone/>
                </a:pPr>
                <a:r>
                  <a:rPr lang="zh-CN" altLang="en-US" sz="1600" b="1" dirty="0">
                    <a:solidFill>
                      <a:srgbClr val="0971CA"/>
                    </a:solidFill>
                    <a:latin typeface="+mn-ea"/>
                  </a:rPr>
                  <a:t>盐酸西替利嗪滴眼液凭借</a:t>
                </a:r>
                <a:r>
                  <a:rPr lang="zh-CN" altLang="en-US" sz="1600" b="1" dirty="0">
                    <a:solidFill>
                      <a:srgbClr val="0971CA"/>
                    </a:solidFill>
                    <a:latin typeface="+mn-ea"/>
                  </a:rPr>
                  <a:t>幼儿可用、双效抗炎、干眼友好，成为解决过敏性结膜炎，尤其是</a:t>
                </a:r>
                <a:r>
                  <a:rPr lang="zh-CN" altLang="en-US" sz="1600" b="1" dirty="0">
                    <a:solidFill>
                      <a:srgbClr val="E1007F"/>
                    </a:solidFill>
                    <a:latin typeface="+mn-ea"/>
                  </a:rPr>
                  <a:t>幼儿</a:t>
                </a:r>
                <a:r>
                  <a:rPr lang="en-US" sz="1600" b="1" dirty="0">
                    <a:solidFill>
                      <a:srgbClr val="E1007F"/>
                    </a:solidFill>
                    <a:latin typeface="+mn-ea"/>
                  </a:rPr>
                  <a:t>+</a:t>
                </a:r>
                <a:r>
                  <a:rPr lang="zh-CN" altLang="en-US" sz="1600" b="1" dirty="0">
                    <a:solidFill>
                      <a:srgbClr val="E1007F"/>
                    </a:solidFill>
                    <a:latin typeface="+mn-ea"/>
                  </a:rPr>
                  <a:t>干眼共病</a:t>
                </a:r>
                <a:r>
                  <a:rPr lang="zh-CN" altLang="en-US" sz="1600" b="1" dirty="0">
                    <a:solidFill>
                      <a:srgbClr val="0971CA"/>
                    </a:solidFill>
                    <a:latin typeface="+mn-ea"/>
                  </a:rPr>
                  <a:t>临床痛点的最优解</a:t>
                </a:r>
                <a:endParaRPr lang="zh-CN" altLang="en-US" sz="1600" b="1" dirty="0">
                  <a:solidFill>
                    <a:srgbClr val="0971CA"/>
                  </a:solidFill>
                  <a:latin typeface="+mn-ea"/>
                </a:endParaRPr>
              </a:p>
            </p:txBody>
          </p:sp>
        </p:grpSp>
        <p:sp>
          <p:nvSpPr>
            <p:cNvPr id="14" name="任意多边形: 形状 13"/>
            <p:cNvSpPr/>
            <p:nvPr/>
          </p:nvSpPr>
          <p:spPr>
            <a:xfrm>
              <a:off x="558" y="8256"/>
              <a:ext cx="2357" cy="1351"/>
            </a:xfrm>
            <a:custGeom>
              <a:avLst/>
              <a:gdLst>
                <a:gd name="csX0" fmla="*/ 230855 w 1490663"/>
                <a:gd name="csY0" fmla="*/ 0 h 697340"/>
                <a:gd name="csX1" fmla="*/ 386716 w 1490663"/>
                <a:gd name="csY1" fmla="*/ 0 h 697340"/>
                <a:gd name="csX2" fmla="*/ 618162 w 1490663"/>
                <a:gd name="csY2" fmla="*/ 0 h 697340"/>
                <a:gd name="csX3" fmla="*/ 883356 w 1490663"/>
                <a:gd name="csY3" fmla="*/ 0 h 697340"/>
                <a:gd name="csX4" fmla="*/ 995363 w 1490663"/>
                <a:gd name="csY4" fmla="*/ 0 h 697340"/>
                <a:gd name="csX5" fmla="*/ 1270664 w 1490663"/>
                <a:gd name="csY5" fmla="*/ 0 h 697340"/>
                <a:gd name="csX6" fmla="*/ 1387517 w 1490663"/>
                <a:gd name="csY6" fmla="*/ 77641 h 697340"/>
                <a:gd name="csX7" fmla="*/ 1480771 w 1490663"/>
                <a:gd name="csY7" fmla="*/ 299512 h 697340"/>
                <a:gd name="csX8" fmla="*/ 1480771 w 1490663"/>
                <a:gd name="csY8" fmla="*/ 397828 h 697340"/>
                <a:gd name="csX9" fmla="*/ 1387517 w 1490663"/>
                <a:gd name="csY9" fmla="*/ 619699 h 697340"/>
                <a:gd name="csX10" fmla="*/ 1270664 w 1490663"/>
                <a:gd name="csY10" fmla="*/ 697340 h 697340"/>
                <a:gd name="csX11" fmla="*/ 995363 w 1490663"/>
                <a:gd name="csY11" fmla="*/ 697340 h 697340"/>
                <a:gd name="csX12" fmla="*/ 883356 w 1490663"/>
                <a:gd name="csY12" fmla="*/ 697340 h 697340"/>
                <a:gd name="csX13" fmla="*/ 618162 w 1490663"/>
                <a:gd name="csY13" fmla="*/ 697340 h 697340"/>
                <a:gd name="csX14" fmla="*/ 386716 w 1490663"/>
                <a:gd name="csY14" fmla="*/ 697340 h 697340"/>
                <a:gd name="csX15" fmla="*/ 230855 w 1490663"/>
                <a:gd name="csY15" fmla="*/ 697340 h 697340"/>
                <a:gd name="csX16" fmla="*/ 114002 w 1490663"/>
                <a:gd name="csY16" fmla="*/ 619699 h 697340"/>
                <a:gd name="csX17" fmla="*/ 0 w 1490663"/>
                <a:gd name="csY17" fmla="*/ 348635 h 697340"/>
                <a:gd name="csX18" fmla="*/ 113930 w 1490663"/>
                <a:gd name="csY18" fmla="*/ 77641 h 697340"/>
                <a:gd name="csX19" fmla="*/ 230855 w 1490663"/>
                <a:gd name="csY19" fmla="*/ 0 h 6973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1490663" h="697340">
                  <a:moveTo>
                    <a:pt x="230855" y="0"/>
                  </a:moveTo>
                  <a:lnTo>
                    <a:pt x="386716" y="0"/>
                  </a:lnTo>
                  <a:lnTo>
                    <a:pt x="618162" y="0"/>
                  </a:lnTo>
                  <a:lnTo>
                    <a:pt x="883356" y="0"/>
                  </a:lnTo>
                  <a:lnTo>
                    <a:pt x="995363" y="0"/>
                  </a:lnTo>
                  <a:lnTo>
                    <a:pt x="1270664" y="0"/>
                  </a:lnTo>
                  <a:cubicBezTo>
                    <a:pt x="1321711" y="0"/>
                    <a:pt x="1367768" y="30586"/>
                    <a:pt x="1387517" y="77641"/>
                  </a:cubicBezTo>
                  <a:lnTo>
                    <a:pt x="1480771" y="299512"/>
                  </a:lnTo>
                  <a:cubicBezTo>
                    <a:pt x="1493961" y="330953"/>
                    <a:pt x="1493961" y="366387"/>
                    <a:pt x="1480771" y="397828"/>
                  </a:cubicBezTo>
                  <a:lnTo>
                    <a:pt x="1387517" y="619699"/>
                  </a:lnTo>
                  <a:cubicBezTo>
                    <a:pt x="1367768" y="666754"/>
                    <a:pt x="1321640" y="697340"/>
                    <a:pt x="1270664" y="697340"/>
                  </a:cubicBezTo>
                  <a:lnTo>
                    <a:pt x="995363" y="697340"/>
                  </a:lnTo>
                  <a:lnTo>
                    <a:pt x="883356" y="697340"/>
                  </a:lnTo>
                  <a:lnTo>
                    <a:pt x="618162" y="697340"/>
                  </a:lnTo>
                  <a:lnTo>
                    <a:pt x="386716" y="697340"/>
                  </a:lnTo>
                  <a:lnTo>
                    <a:pt x="230855" y="697340"/>
                  </a:lnTo>
                  <a:cubicBezTo>
                    <a:pt x="179807" y="697340"/>
                    <a:pt x="133750" y="666754"/>
                    <a:pt x="114002" y="619699"/>
                  </a:cubicBezTo>
                  <a:lnTo>
                    <a:pt x="0" y="348635"/>
                  </a:lnTo>
                  <a:lnTo>
                    <a:pt x="113930" y="77641"/>
                  </a:lnTo>
                  <a:cubicBezTo>
                    <a:pt x="133750" y="30586"/>
                    <a:pt x="179807" y="0"/>
                    <a:pt x="230855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zh-CN" altLang="en-US" sz="2000" b="1" dirty="0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latin typeface="+mn-ea"/>
                </a:rPr>
                <a:t>独特性</a:t>
              </a:r>
              <a:endParaRPr lang="zh-CN" altLang="en-US" sz="20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ea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椭圆 21"/>
          <p:cNvSpPr/>
          <p:nvPr/>
        </p:nvSpPr>
        <p:spPr>
          <a:xfrm>
            <a:off x="8192209" y="4674784"/>
            <a:ext cx="612472" cy="46166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8192209" y="5907301"/>
            <a:ext cx="612472" cy="46166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矩形: 圆角 26"/>
          <p:cNvSpPr/>
          <p:nvPr/>
        </p:nvSpPr>
        <p:spPr>
          <a:xfrm>
            <a:off x="374650" y="1302257"/>
            <a:ext cx="11442700" cy="1932238"/>
          </a:xfrm>
          <a:prstGeom prst="roundRect">
            <a:avLst>
              <a:gd name="adj" fmla="val 5227"/>
            </a:avLst>
          </a:prstGeom>
          <a:solidFill>
            <a:schemeClr val="bg1"/>
          </a:solidFill>
          <a:ln>
            <a:solidFill>
              <a:srgbClr val="5D84D1">
                <a:alpha val="3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2091690" y="348933"/>
            <a:ext cx="10100310" cy="4603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buNone/>
            </a:pPr>
            <a:r>
              <a:rPr lang="zh-CN" altLang="en-US" sz="2400" b="1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盐酸西替利嗪滴眼液填补中国</a:t>
            </a:r>
            <a:r>
              <a:rPr lang="zh-CN" altLang="en-US" sz="2400" b="1">
                <a:solidFill>
                  <a:srgbClr val="E1007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幼儿</a:t>
            </a:r>
            <a:r>
              <a:rPr lang="zh-CN" altLang="en-US" sz="2400" b="1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过敏性结膜炎缺乏有效药物的空白</a:t>
            </a:r>
            <a:endParaRPr lang="zh-CN" altLang="en-US" sz="2400" b="1">
              <a:gradFill>
                <a:gsLst>
                  <a:gs pos="100000">
                    <a:schemeClr val="tx1"/>
                  </a:gs>
                  <a:gs pos="0">
                    <a:schemeClr val="tx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74650" y="6480407"/>
            <a:ext cx="11442700" cy="20255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产品说明书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4094375" y="1071426"/>
            <a:ext cx="4003250" cy="461665"/>
            <a:chOff x="4302160" y="1106373"/>
            <a:chExt cx="4003250" cy="461665"/>
          </a:xfrm>
        </p:grpSpPr>
        <p:sp>
          <p:nvSpPr>
            <p:cNvPr id="30" name="任意多边形: 形状 29"/>
            <p:cNvSpPr/>
            <p:nvPr/>
          </p:nvSpPr>
          <p:spPr>
            <a:xfrm flipH="1">
              <a:off x="4302160" y="1106373"/>
              <a:ext cx="4003250" cy="461665"/>
            </a:xfrm>
            <a:custGeom>
              <a:avLst/>
              <a:gdLst>
                <a:gd name="csX0" fmla="*/ 3857602 w 4003250"/>
                <a:gd name="csY0" fmla="*/ 0 h 461665"/>
                <a:gd name="csX1" fmla="*/ 3761422 w 4003250"/>
                <a:gd name="csY1" fmla="*/ 0 h 461665"/>
                <a:gd name="csX2" fmla="*/ 3518895 w 4003250"/>
                <a:gd name="csY2" fmla="*/ 0 h 461665"/>
                <a:gd name="csX3" fmla="*/ 3442031 w 4003250"/>
                <a:gd name="csY3" fmla="*/ 0 h 461665"/>
                <a:gd name="csX4" fmla="*/ 3422715 w 4003250"/>
                <a:gd name="csY4" fmla="*/ 0 h 461665"/>
                <a:gd name="csX5" fmla="*/ 3345851 w 4003250"/>
                <a:gd name="csY5" fmla="*/ 0 h 461665"/>
                <a:gd name="csX6" fmla="*/ 3103324 w 4003250"/>
                <a:gd name="csY6" fmla="*/ 0 h 461665"/>
                <a:gd name="csX7" fmla="*/ 3007144 w 4003250"/>
                <a:gd name="csY7" fmla="*/ 0 h 461665"/>
                <a:gd name="csX8" fmla="*/ 996106 w 4003250"/>
                <a:gd name="csY8" fmla="*/ 0 h 461665"/>
                <a:gd name="csX9" fmla="*/ 899926 w 4003250"/>
                <a:gd name="csY9" fmla="*/ 0 h 461665"/>
                <a:gd name="csX10" fmla="*/ 657399 w 4003250"/>
                <a:gd name="csY10" fmla="*/ 0 h 461665"/>
                <a:gd name="csX11" fmla="*/ 580535 w 4003250"/>
                <a:gd name="csY11" fmla="*/ 0 h 461665"/>
                <a:gd name="csX12" fmla="*/ 561219 w 4003250"/>
                <a:gd name="csY12" fmla="*/ 0 h 461665"/>
                <a:gd name="csX13" fmla="*/ 484355 w 4003250"/>
                <a:gd name="csY13" fmla="*/ 0 h 461665"/>
                <a:gd name="csX14" fmla="*/ 241828 w 4003250"/>
                <a:gd name="csY14" fmla="*/ 0 h 461665"/>
                <a:gd name="csX15" fmla="*/ 145648 w 4003250"/>
                <a:gd name="csY15" fmla="*/ 0 h 461665"/>
                <a:gd name="csX16" fmla="*/ 68287 w 4003250"/>
                <a:gd name="csY16" fmla="*/ 51401 h 461665"/>
                <a:gd name="csX17" fmla="*/ 6549 w 4003250"/>
                <a:gd name="csY17" fmla="*/ 198288 h 461665"/>
                <a:gd name="csX18" fmla="*/ 6549 w 4003250"/>
                <a:gd name="csY18" fmla="*/ 263378 h 461665"/>
                <a:gd name="csX19" fmla="*/ 68287 w 4003250"/>
                <a:gd name="csY19" fmla="*/ 410264 h 461665"/>
                <a:gd name="csX20" fmla="*/ 145648 w 4003250"/>
                <a:gd name="csY20" fmla="*/ 461665 h 461665"/>
                <a:gd name="csX21" fmla="*/ 241828 w 4003250"/>
                <a:gd name="csY21" fmla="*/ 461665 h 461665"/>
                <a:gd name="csX22" fmla="*/ 484355 w 4003250"/>
                <a:gd name="csY22" fmla="*/ 461665 h 461665"/>
                <a:gd name="csX23" fmla="*/ 561219 w 4003250"/>
                <a:gd name="csY23" fmla="*/ 461665 h 461665"/>
                <a:gd name="csX24" fmla="*/ 580535 w 4003250"/>
                <a:gd name="csY24" fmla="*/ 461665 h 461665"/>
                <a:gd name="csX25" fmla="*/ 657399 w 4003250"/>
                <a:gd name="csY25" fmla="*/ 461665 h 461665"/>
                <a:gd name="csX26" fmla="*/ 899926 w 4003250"/>
                <a:gd name="csY26" fmla="*/ 461665 h 461665"/>
                <a:gd name="csX27" fmla="*/ 996106 w 4003250"/>
                <a:gd name="csY27" fmla="*/ 461665 h 461665"/>
                <a:gd name="csX28" fmla="*/ 3007144 w 4003250"/>
                <a:gd name="csY28" fmla="*/ 461665 h 461665"/>
                <a:gd name="csX29" fmla="*/ 3103324 w 4003250"/>
                <a:gd name="csY29" fmla="*/ 461665 h 461665"/>
                <a:gd name="csX30" fmla="*/ 3345851 w 4003250"/>
                <a:gd name="csY30" fmla="*/ 461665 h 461665"/>
                <a:gd name="csX31" fmla="*/ 3422715 w 4003250"/>
                <a:gd name="csY31" fmla="*/ 461665 h 461665"/>
                <a:gd name="csX32" fmla="*/ 3442031 w 4003250"/>
                <a:gd name="csY32" fmla="*/ 461665 h 461665"/>
                <a:gd name="csX33" fmla="*/ 3518895 w 4003250"/>
                <a:gd name="csY33" fmla="*/ 461665 h 461665"/>
                <a:gd name="csX34" fmla="*/ 3761422 w 4003250"/>
                <a:gd name="csY34" fmla="*/ 461665 h 461665"/>
                <a:gd name="csX35" fmla="*/ 3857602 w 4003250"/>
                <a:gd name="csY35" fmla="*/ 461665 h 461665"/>
                <a:gd name="csX36" fmla="*/ 3934964 w 4003250"/>
                <a:gd name="csY36" fmla="*/ 410264 h 461665"/>
                <a:gd name="csX37" fmla="*/ 3996701 w 4003250"/>
                <a:gd name="csY37" fmla="*/ 263378 h 461665"/>
                <a:gd name="csX38" fmla="*/ 3996701 w 4003250"/>
                <a:gd name="csY38" fmla="*/ 198288 h 461665"/>
                <a:gd name="csX39" fmla="*/ 3934964 w 4003250"/>
                <a:gd name="csY39" fmla="*/ 51401 h 461665"/>
                <a:gd name="csX40" fmla="*/ 3857602 w 4003250"/>
                <a:gd name="csY40" fmla="*/ 0 h 4616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</a:cxnLst>
              <a:rect l="l" t="t" r="r" b="b"/>
              <a:pathLst>
                <a:path w="4003250" h="461665">
                  <a:moveTo>
                    <a:pt x="3857602" y="0"/>
                  </a:moveTo>
                  <a:lnTo>
                    <a:pt x="3761422" y="0"/>
                  </a:lnTo>
                  <a:lnTo>
                    <a:pt x="3518895" y="0"/>
                  </a:lnTo>
                  <a:lnTo>
                    <a:pt x="3442031" y="0"/>
                  </a:lnTo>
                  <a:lnTo>
                    <a:pt x="3422715" y="0"/>
                  </a:lnTo>
                  <a:lnTo>
                    <a:pt x="3345851" y="0"/>
                  </a:lnTo>
                  <a:lnTo>
                    <a:pt x="3103324" y="0"/>
                  </a:lnTo>
                  <a:lnTo>
                    <a:pt x="3007144" y="0"/>
                  </a:lnTo>
                  <a:lnTo>
                    <a:pt x="996106" y="0"/>
                  </a:lnTo>
                  <a:lnTo>
                    <a:pt x="899926" y="0"/>
                  </a:lnTo>
                  <a:lnTo>
                    <a:pt x="657399" y="0"/>
                  </a:lnTo>
                  <a:lnTo>
                    <a:pt x="580535" y="0"/>
                  </a:lnTo>
                  <a:lnTo>
                    <a:pt x="561219" y="0"/>
                  </a:lnTo>
                  <a:lnTo>
                    <a:pt x="484355" y="0"/>
                  </a:lnTo>
                  <a:lnTo>
                    <a:pt x="241828" y="0"/>
                  </a:lnTo>
                  <a:lnTo>
                    <a:pt x="145648" y="0"/>
                  </a:lnTo>
                  <a:cubicBezTo>
                    <a:pt x="111853" y="0"/>
                    <a:pt x="81360" y="20248"/>
                    <a:pt x="68287" y="51401"/>
                  </a:cubicBezTo>
                  <a:lnTo>
                    <a:pt x="6549" y="198288"/>
                  </a:lnTo>
                  <a:cubicBezTo>
                    <a:pt x="-2183" y="219104"/>
                    <a:pt x="-2183" y="242561"/>
                    <a:pt x="6549" y="263378"/>
                  </a:cubicBezTo>
                  <a:lnTo>
                    <a:pt x="68287" y="410264"/>
                  </a:lnTo>
                  <a:cubicBezTo>
                    <a:pt x="81360" y="441416"/>
                    <a:pt x="111899" y="461665"/>
                    <a:pt x="145648" y="461665"/>
                  </a:cubicBezTo>
                  <a:lnTo>
                    <a:pt x="241828" y="461665"/>
                  </a:lnTo>
                  <a:lnTo>
                    <a:pt x="484355" y="461665"/>
                  </a:lnTo>
                  <a:lnTo>
                    <a:pt x="561219" y="461665"/>
                  </a:lnTo>
                  <a:lnTo>
                    <a:pt x="580535" y="461665"/>
                  </a:lnTo>
                  <a:lnTo>
                    <a:pt x="657399" y="461665"/>
                  </a:lnTo>
                  <a:lnTo>
                    <a:pt x="899926" y="461665"/>
                  </a:lnTo>
                  <a:lnTo>
                    <a:pt x="996106" y="461665"/>
                  </a:lnTo>
                  <a:lnTo>
                    <a:pt x="3007144" y="461665"/>
                  </a:lnTo>
                  <a:lnTo>
                    <a:pt x="3103324" y="461665"/>
                  </a:lnTo>
                  <a:lnTo>
                    <a:pt x="3345851" y="461665"/>
                  </a:lnTo>
                  <a:lnTo>
                    <a:pt x="3422715" y="461665"/>
                  </a:lnTo>
                  <a:lnTo>
                    <a:pt x="3442031" y="461665"/>
                  </a:lnTo>
                  <a:lnTo>
                    <a:pt x="3518895" y="461665"/>
                  </a:lnTo>
                  <a:lnTo>
                    <a:pt x="3761422" y="461665"/>
                  </a:lnTo>
                  <a:lnTo>
                    <a:pt x="3857602" y="461665"/>
                  </a:lnTo>
                  <a:cubicBezTo>
                    <a:pt x="3891351" y="461665"/>
                    <a:pt x="3921890" y="441416"/>
                    <a:pt x="3934964" y="410264"/>
                  </a:cubicBezTo>
                  <a:lnTo>
                    <a:pt x="3996701" y="263378"/>
                  </a:lnTo>
                  <a:cubicBezTo>
                    <a:pt x="4005433" y="242561"/>
                    <a:pt x="4005433" y="219104"/>
                    <a:pt x="3996701" y="198288"/>
                  </a:cubicBezTo>
                  <a:lnTo>
                    <a:pt x="3934964" y="51401"/>
                  </a:lnTo>
                  <a:cubicBezTo>
                    <a:pt x="3921890" y="20248"/>
                    <a:pt x="3891397" y="0"/>
                    <a:pt x="3857602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288290" algn="ctr"/>
              <a:r>
                <a:rPr lang="zh-CN" altLang="en-US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微软雅黑" panose="020B0503020204020204" pitchFamily="34" charset="-122"/>
                  <a:sym typeface="+mn-ea"/>
                </a:rPr>
                <a:t>申报目录类别：基本医保目录</a:t>
              </a:r>
              <a:endParaRPr lang="zh-CN" altLang="en-US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sym typeface="+mn-ea"/>
              </a:endParaRPr>
            </a:p>
          </p:txBody>
        </p:sp>
        <p:grpSp>
          <p:nvGrpSpPr>
            <p:cNvPr id="40" name="组合 39"/>
            <p:cNvGrpSpPr/>
            <p:nvPr/>
          </p:nvGrpSpPr>
          <p:grpSpPr>
            <a:xfrm>
              <a:off x="4531993" y="1184497"/>
              <a:ext cx="306708" cy="306706"/>
              <a:chOff x="4531993" y="1184497"/>
              <a:chExt cx="306708" cy="306706"/>
            </a:xfrm>
          </p:grpSpPr>
          <p:sp>
            <p:nvSpPr>
              <p:cNvPr id="37" name="椭圆 36"/>
              <p:cNvSpPr/>
              <p:nvPr/>
            </p:nvSpPr>
            <p:spPr>
              <a:xfrm>
                <a:off x="4531993" y="1184497"/>
                <a:ext cx="306708" cy="306706"/>
              </a:xfrm>
              <a:prstGeom prst="ellipse">
                <a:avLst/>
              </a:prstGeom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图形 41"/>
              <p:cNvSpPr/>
              <p:nvPr/>
            </p:nvSpPr>
            <p:spPr>
              <a:xfrm>
                <a:off x="4598783" y="1260954"/>
                <a:ext cx="172249" cy="152914"/>
              </a:xfrm>
              <a:custGeom>
                <a:avLst/>
                <a:gdLst>
                  <a:gd name="csX0" fmla="*/ 1166298 w 1499902"/>
                  <a:gd name="csY0" fmla="*/ 0 h 1333509"/>
                  <a:gd name="csX1" fmla="*/ 1249899 w 1499902"/>
                  <a:gd name="csY1" fmla="*/ 83601 h 1333509"/>
                  <a:gd name="csX2" fmla="*/ 1249899 w 1499902"/>
                  <a:gd name="csY2" fmla="*/ 166373 h 1333509"/>
                  <a:gd name="csX3" fmla="*/ 1333500 w 1499902"/>
                  <a:gd name="csY3" fmla="*/ 166373 h 1333509"/>
                  <a:gd name="csX4" fmla="*/ 1417101 w 1499902"/>
                  <a:gd name="csY4" fmla="*/ 245840 h 1333509"/>
                  <a:gd name="csX5" fmla="*/ 1417101 w 1499902"/>
                  <a:gd name="csY5" fmla="*/ 417195 h 1333509"/>
                  <a:gd name="csX6" fmla="*/ 1458487 w 1499902"/>
                  <a:gd name="csY6" fmla="*/ 417195 h 1333509"/>
                  <a:gd name="csX7" fmla="*/ 1499873 w 1499902"/>
                  <a:gd name="csY7" fmla="*/ 458581 h 1333509"/>
                  <a:gd name="csX8" fmla="*/ 1499873 w 1499902"/>
                  <a:gd name="csY8" fmla="*/ 1292114 h 1333509"/>
                  <a:gd name="csX9" fmla="*/ 1458487 w 1499902"/>
                  <a:gd name="csY9" fmla="*/ 1333510 h 1333509"/>
                  <a:gd name="csX10" fmla="*/ 41386 w 1499902"/>
                  <a:gd name="csY10" fmla="*/ 1333510 h 1333509"/>
                  <a:gd name="csX11" fmla="*/ 0 w 1499902"/>
                  <a:gd name="csY11" fmla="*/ 1292123 h 1333509"/>
                  <a:gd name="csX12" fmla="*/ 0 w 1499902"/>
                  <a:gd name="csY12" fmla="*/ 374971 h 1333509"/>
                  <a:gd name="csX13" fmla="*/ 41386 w 1499902"/>
                  <a:gd name="csY13" fmla="*/ 333585 h 1333509"/>
                  <a:gd name="csX14" fmla="*/ 82772 w 1499902"/>
                  <a:gd name="csY14" fmla="*/ 333585 h 1333509"/>
                  <a:gd name="csX15" fmla="*/ 82772 w 1499902"/>
                  <a:gd name="csY15" fmla="*/ 83601 h 1333509"/>
                  <a:gd name="csX16" fmla="*/ 166373 w 1499902"/>
                  <a:gd name="csY16" fmla="*/ 0 h 1333509"/>
                  <a:gd name="csX17" fmla="*/ 479260 w 1499902"/>
                  <a:gd name="csY17" fmla="*/ 417185 h 1333509"/>
                  <a:gd name="csX18" fmla="*/ 83610 w 1499902"/>
                  <a:gd name="csY18" fmla="*/ 417185 h 1333509"/>
                  <a:gd name="csX19" fmla="*/ 83610 w 1499902"/>
                  <a:gd name="csY19" fmla="*/ 1250718 h 1333509"/>
                  <a:gd name="csX20" fmla="*/ 1417111 w 1499902"/>
                  <a:gd name="csY20" fmla="*/ 1250718 h 1333509"/>
                  <a:gd name="csX21" fmla="*/ 1417111 w 1499902"/>
                  <a:gd name="csY21" fmla="*/ 499967 h 1333509"/>
                  <a:gd name="csX22" fmla="*/ 687857 w 1499902"/>
                  <a:gd name="csY22" fmla="*/ 499967 h 1333509"/>
                  <a:gd name="csX23" fmla="*/ 612534 w 1499902"/>
                  <a:gd name="csY23" fmla="*/ 483413 h 1333509"/>
                  <a:gd name="csX24" fmla="*/ 479269 w 1499902"/>
                  <a:gd name="csY24" fmla="*/ 417195 h 1333509"/>
                  <a:gd name="csX25" fmla="*/ 749941 w 1499902"/>
                  <a:gd name="csY25" fmla="*/ 667988 h 1333509"/>
                  <a:gd name="csX26" fmla="*/ 791327 w 1499902"/>
                  <a:gd name="csY26" fmla="*/ 709374 h 1333509"/>
                  <a:gd name="csX27" fmla="*/ 791327 w 1499902"/>
                  <a:gd name="csY27" fmla="*/ 834371 h 1333509"/>
                  <a:gd name="csX28" fmla="*/ 916305 w 1499902"/>
                  <a:gd name="csY28" fmla="*/ 834371 h 1333509"/>
                  <a:gd name="csX29" fmla="*/ 957691 w 1499902"/>
                  <a:gd name="csY29" fmla="*/ 875757 h 1333509"/>
                  <a:gd name="csX30" fmla="*/ 916305 w 1499902"/>
                  <a:gd name="csY30" fmla="*/ 917143 h 1333509"/>
                  <a:gd name="csX31" fmla="*/ 791337 w 1499902"/>
                  <a:gd name="csY31" fmla="*/ 917143 h 1333509"/>
                  <a:gd name="csX32" fmla="*/ 791337 w 1499902"/>
                  <a:gd name="csY32" fmla="*/ 1042130 h 1333509"/>
                  <a:gd name="csX33" fmla="*/ 749951 w 1499902"/>
                  <a:gd name="csY33" fmla="*/ 1083516 h 1333509"/>
                  <a:gd name="csX34" fmla="*/ 708565 w 1499902"/>
                  <a:gd name="csY34" fmla="*/ 1042130 h 1333509"/>
                  <a:gd name="csX35" fmla="*/ 708565 w 1499902"/>
                  <a:gd name="csY35" fmla="*/ 916315 h 1333509"/>
                  <a:gd name="csX36" fmla="*/ 583559 w 1499902"/>
                  <a:gd name="csY36" fmla="*/ 916315 h 1333509"/>
                  <a:gd name="csX37" fmla="*/ 542173 w 1499902"/>
                  <a:gd name="csY37" fmla="*/ 874928 h 1333509"/>
                  <a:gd name="csX38" fmla="*/ 583559 w 1499902"/>
                  <a:gd name="csY38" fmla="*/ 833542 h 1333509"/>
                  <a:gd name="csX39" fmla="*/ 583559 w 1499902"/>
                  <a:gd name="csY39" fmla="*/ 834371 h 1333509"/>
                  <a:gd name="csX40" fmla="*/ 708565 w 1499902"/>
                  <a:gd name="csY40" fmla="*/ 834371 h 1333509"/>
                  <a:gd name="csX41" fmla="*/ 708565 w 1499902"/>
                  <a:gd name="csY41" fmla="*/ 709374 h 1333509"/>
                  <a:gd name="csX42" fmla="*/ 749951 w 1499902"/>
                  <a:gd name="csY42" fmla="*/ 667988 h 1333509"/>
                  <a:gd name="csX43" fmla="*/ 1334329 w 1499902"/>
                  <a:gd name="csY43" fmla="*/ 249984 h 1333509"/>
                  <a:gd name="csX44" fmla="*/ 333585 w 1499902"/>
                  <a:gd name="csY44" fmla="*/ 249984 h 1333509"/>
                  <a:gd name="csX45" fmla="*/ 333585 w 1499902"/>
                  <a:gd name="csY45" fmla="*/ 333585 h 1333509"/>
                  <a:gd name="csX46" fmla="*/ 480089 w 1499902"/>
                  <a:gd name="csY46" fmla="*/ 333585 h 1333509"/>
                  <a:gd name="csX47" fmla="*/ 517341 w 1499902"/>
                  <a:gd name="csY47" fmla="*/ 341862 h 1333509"/>
                  <a:gd name="csX48" fmla="*/ 650605 w 1499902"/>
                  <a:gd name="csY48" fmla="*/ 408908 h 1333509"/>
                  <a:gd name="csX49" fmla="*/ 687857 w 1499902"/>
                  <a:gd name="csY49" fmla="*/ 417185 h 1333509"/>
                  <a:gd name="csX50" fmla="*/ 1334319 w 1499902"/>
                  <a:gd name="csY50" fmla="*/ 417185 h 1333509"/>
                  <a:gd name="csX51" fmla="*/ 1334319 w 1499902"/>
                  <a:gd name="csY51" fmla="*/ 249984 h 1333509"/>
                  <a:gd name="csX52" fmla="*/ 1167127 w 1499902"/>
                  <a:gd name="csY52" fmla="*/ 83601 h 1333509"/>
                  <a:gd name="csX53" fmla="*/ 166373 w 1499902"/>
                  <a:gd name="csY53" fmla="*/ 83601 h 1333509"/>
                  <a:gd name="csX54" fmla="*/ 166373 w 1499902"/>
                  <a:gd name="csY54" fmla="*/ 334423 h 1333509"/>
                  <a:gd name="csX55" fmla="*/ 249984 w 1499902"/>
                  <a:gd name="csY55" fmla="*/ 334423 h 1333509"/>
                  <a:gd name="csX56" fmla="*/ 249984 w 1499902"/>
                  <a:gd name="csY56" fmla="*/ 246678 h 1333509"/>
                  <a:gd name="csX57" fmla="*/ 333585 w 1499902"/>
                  <a:gd name="csY57" fmla="*/ 167211 h 1333509"/>
                  <a:gd name="csX58" fmla="*/ 1167117 w 1499902"/>
                  <a:gd name="csY58" fmla="*/ 167211 h 1333509"/>
                  <a:gd name="csX59" fmla="*/ 1167117 w 1499902"/>
                  <a:gd name="csY59" fmla="*/ 83610 h 133350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</a:cxnLst>
                <a:rect l="l" t="t" r="r" b="b"/>
                <a:pathLst>
                  <a:path w="1499902" h="1333509">
                    <a:moveTo>
                      <a:pt x="1166298" y="0"/>
                    </a:moveTo>
                    <a:cubicBezTo>
                      <a:pt x="1212647" y="0"/>
                      <a:pt x="1249899" y="38081"/>
                      <a:pt x="1249899" y="83601"/>
                    </a:cubicBezTo>
                    <a:lnTo>
                      <a:pt x="1249899" y="166373"/>
                    </a:lnTo>
                    <a:lnTo>
                      <a:pt x="1333500" y="166373"/>
                    </a:lnTo>
                    <a:cubicBezTo>
                      <a:pt x="1379858" y="166373"/>
                      <a:pt x="1417101" y="204454"/>
                      <a:pt x="1417101" y="245840"/>
                    </a:cubicBezTo>
                    <a:lnTo>
                      <a:pt x="1417101" y="417195"/>
                    </a:lnTo>
                    <a:lnTo>
                      <a:pt x="1458487" y="417195"/>
                    </a:lnTo>
                    <a:cubicBezTo>
                      <a:pt x="1484147" y="417195"/>
                      <a:pt x="1500702" y="433749"/>
                      <a:pt x="1499873" y="458581"/>
                    </a:cubicBezTo>
                    <a:lnTo>
                      <a:pt x="1499873" y="1292114"/>
                    </a:lnTo>
                    <a:cubicBezTo>
                      <a:pt x="1499873" y="1316955"/>
                      <a:pt x="1483319" y="1333510"/>
                      <a:pt x="1458487" y="1333510"/>
                    </a:cubicBezTo>
                    <a:lnTo>
                      <a:pt x="41386" y="1333510"/>
                    </a:lnTo>
                    <a:cubicBezTo>
                      <a:pt x="16554" y="1333510"/>
                      <a:pt x="0" y="1316955"/>
                      <a:pt x="0" y="1292123"/>
                    </a:cubicBezTo>
                    <a:lnTo>
                      <a:pt x="0" y="374971"/>
                    </a:lnTo>
                    <a:cubicBezTo>
                      <a:pt x="0" y="350139"/>
                      <a:pt x="16554" y="333585"/>
                      <a:pt x="41386" y="333585"/>
                    </a:cubicBezTo>
                    <a:lnTo>
                      <a:pt x="82772" y="333585"/>
                    </a:lnTo>
                    <a:lnTo>
                      <a:pt x="82772" y="83601"/>
                    </a:lnTo>
                    <a:cubicBezTo>
                      <a:pt x="82772" y="37252"/>
                      <a:pt x="120853" y="0"/>
                      <a:pt x="166373" y="0"/>
                    </a:cubicBezTo>
                    <a:close/>
                    <a:moveTo>
                      <a:pt x="479260" y="417185"/>
                    </a:moveTo>
                    <a:lnTo>
                      <a:pt x="83610" y="417185"/>
                    </a:lnTo>
                    <a:lnTo>
                      <a:pt x="83610" y="1250718"/>
                    </a:lnTo>
                    <a:lnTo>
                      <a:pt x="1417111" y="1250718"/>
                    </a:lnTo>
                    <a:lnTo>
                      <a:pt x="1417111" y="499967"/>
                    </a:lnTo>
                    <a:lnTo>
                      <a:pt x="687857" y="499967"/>
                    </a:lnTo>
                    <a:cubicBezTo>
                      <a:pt x="662197" y="499967"/>
                      <a:pt x="637365" y="495833"/>
                      <a:pt x="612534" y="483413"/>
                    </a:cubicBezTo>
                    <a:lnTo>
                      <a:pt x="479269" y="417195"/>
                    </a:lnTo>
                    <a:close/>
                    <a:moveTo>
                      <a:pt x="749941" y="667988"/>
                    </a:moveTo>
                    <a:cubicBezTo>
                      <a:pt x="770630" y="667988"/>
                      <a:pt x="791327" y="688686"/>
                      <a:pt x="791327" y="709374"/>
                    </a:cubicBezTo>
                    <a:lnTo>
                      <a:pt x="791327" y="834371"/>
                    </a:lnTo>
                    <a:lnTo>
                      <a:pt x="916305" y="834371"/>
                    </a:lnTo>
                    <a:cubicBezTo>
                      <a:pt x="937003" y="834371"/>
                      <a:pt x="957691" y="855059"/>
                      <a:pt x="957691" y="875757"/>
                    </a:cubicBezTo>
                    <a:cubicBezTo>
                      <a:pt x="957691" y="896445"/>
                      <a:pt x="937003" y="917143"/>
                      <a:pt x="916305" y="917143"/>
                    </a:cubicBezTo>
                    <a:lnTo>
                      <a:pt x="791337" y="917143"/>
                    </a:lnTo>
                    <a:lnTo>
                      <a:pt x="791337" y="1042130"/>
                    </a:lnTo>
                    <a:cubicBezTo>
                      <a:pt x="791337" y="1062828"/>
                      <a:pt x="770639" y="1083516"/>
                      <a:pt x="749951" y="1083516"/>
                    </a:cubicBezTo>
                    <a:cubicBezTo>
                      <a:pt x="729253" y="1083516"/>
                      <a:pt x="708565" y="1062828"/>
                      <a:pt x="708565" y="1042130"/>
                    </a:cubicBezTo>
                    <a:lnTo>
                      <a:pt x="708565" y="916315"/>
                    </a:lnTo>
                    <a:lnTo>
                      <a:pt x="583559" y="916315"/>
                    </a:lnTo>
                    <a:cubicBezTo>
                      <a:pt x="562870" y="916315"/>
                      <a:pt x="542173" y="895626"/>
                      <a:pt x="542173" y="874928"/>
                    </a:cubicBezTo>
                    <a:cubicBezTo>
                      <a:pt x="542173" y="854231"/>
                      <a:pt x="562870" y="833542"/>
                      <a:pt x="583559" y="833542"/>
                    </a:cubicBezTo>
                    <a:lnTo>
                      <a:pt x="583559" y="834371"/>
                    </a:lnTo>
                    <a:lnTo>
                      <a:pt x="708565" y="834371"/>
                    </a:lnTo>
                    <a:lnTo>
                      <a:pt x="708565" y="709374"/>
                    </a:lnTo>
                    <a:cubicBezTo>
                      <a:pt x="708565" y="688686"/>
                      <a:pt x="729253" y="667988"/>
                      <a:pt x="749951" y="667988"/>
                    </a:cubicBezTo>
                    <a:close/>
                    <a:moveTo>
                      <a:pt x="1334329" y="249984"/>
                    </a:moveTo>
                    <a:lnTo>
                      <a:pt x="333585" y="249984"/>
                    </a:lnTo>
                    <a:lnTo>
                      <a:pt x="333585" y="333585"/>
                    </a:lnTo>
                    <a:lnTo>
                      <a:pt x="480089" y="333585"/>
                    </a:lnTo>
                    <a:cubicBezTo>
                      <a:pt x="492509" y="333585"/>
                      <a:pt x="504930" y="337718"/>
                      <a:pt x="517341" y="341862"/>
                    </a:cubicBezTo>
                    <a:lnTo>
                      <a:pt x="650605" y="408908"/>
                    </a:lnTo>
                    <a:cubicBezTo>
                      <a:pt x="663026" y="413042"/>
                      <a:pt x="675437" y="417185"/>
                      <a:pt x="687857" y="417185"/>
                    </a:cubicBezTo>
                    <a:lnTo>
                      <a:pt x="1334319" y="417185"/>
                    </a:lnTo>
                    <a:lnTo>
                      <a:pt x="1334319" y="249984"/>
                    </a:lnTo>
                    <a:close/>
                    <a:moveTo>
                      <a:pt x="1167127" y="83601"/>
                    </a:moveTo>
                    <a:lnTo>
                      <a:pt x="166373" y="83601"/>
                    </a:lnTo>
                    <a:lnTo>
                      <a:pt x="166373" y="334423"/>
                    </a:lnTo>
                    <a:lnTo>
                      <a:pt x="249984" y="334423"/>
                    </a:lnTo>
                    <a:lnTo>
                      <a:pt x="249984" y="246678"/>
                    </a:lnTo>
                    <a:cubicBezTo>
                      <a:pt x="249984" y="200320"/>
                      <a:pt x="288055" y="167211"/>
                      <a:pt x="333585" y="167211"/>
                    </a:cubicBezTo>
                    <a:lnTo>
                      <a:pt x="1167117" y="167211"/>
                    </a:lnTo>
                    <a:lnTo>
                      <a:pt x="1167117" y="83610"/>
                    </a:lnTo>
                    <a:close/>
                  </a:path>
                </a:pathLst>
              </a:custGeom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3" name="组合 222"/>
          <p:cNvGrpSpPr/>
          <p:nvPr/>
        </p:nvGrpSpPr>
        <p:grpSpPr>
          <a:xfrm>
            <a:off x="8029676" y="1686023"/>
            <a:ext cx="3638818" cy="694696"/>
            <a:chOff x="8029676" y="1686023"/>
            <a:chExt cx="3638818" cy="694696"/>
          </a:xfrm>
        </p:grpSpPr>
        <p:sp>
          <p:nvSpPr>
            <p:cNvPr id="192" name="矩形: 圆角 191"/>
            <p:cNvSpPr/>
            <p:nvPr/>
          </p:nvSpPr>
          <p:spPr>
            <a:xfrm>
              <a:off x="8029676" y="1706697"/>
              <a:ext cx="3638818" cy="643331"/>
            </a:xfrm>
            <a:prstGeom prst="roundRect">
              <a:avLst>
                <a:gd name="adj" fmla="val 3780"/>
              </a:avLst>
            </a:prstGeom>
            <a:solidFill>
              <a:srgbClr val="EFF7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11" name="组合 210"/>
            <p:cNvGrpSpPr/>
            <p:nvPr/>
          </p:nvGrpSpPr>
          <p:grpSpPr>
            <a:xfrm>
              <a:off x="8455993" y="1686023"/>
              <a:ext cx="3212220" cy="694696"/>
              <a:chOff x="1113079" y="4853918"/>
              <a:chExt cx="3365918" cy="694621"/>
            </a:xfrm>
          </p:grpSpPr>
          <p:sp>
            <p:nvSpPr>
              <p:cNvPr id="212" name="文本框 211"/>
              <p:cNvSpPr txBox="1"/>
              <p:nvPr/>
            </p:nvSpPr>
            <p:spPr>
              <a:xfrm>
                <a:off x="1113079" y="4853918"/>
                <a:ext cx="1130100" cy="296692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anchor="ctr">
                <a:spAutoFit/>
              </a:bodyPr>
              <a:lstStyle/>
              <a:p>
                <a:pPr indent="0">
                  <a:lnSpc>
                    <a:spcPct val="100000"/>
                  </a:lnSpc>
                  <a:buNone/>
                </a:pPr>
                <a:r>
                  <a: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【</a:t>
                </a:r>
                <a:r>
                  <a:rPr lang="zh-CN" altLang="en-US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包装规格</a:t>
                </a:r>
                <a:r>
                  <a: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】</a:t>
                </a:r>
                <a:endParaRPr lang="en-US" altLang="zh-CN" sz="14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  <p:sp>
            <p:nvSpPr>
              <p:cNvPr id="215" name="文本框 214"/>
              <p:cNvSpPr txBox="1"/>
              <p:nvPr/>
            </p:nvSpPr>
            <p:spPr>
              <a:xfrm>
                <a:off x="1205682" y="5106551"/>
                <a:ext cx="3273315" cy="441988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anchor="t">
                <a:spAutoFit/>
              </a:bodyPr>
              <a:lstStyle/>
              <a:p>
                <a:pPr>
                  <a:buNone/>
                </a:pPr>
                <a:r>
                  <a:rPr lang="zh-CN" altLang="en-US" sz="12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单剂量低密度聚乙烯药用滴眼剂瓶（一次性小规格包装），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5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支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/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板，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2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板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/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包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/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rPr>
                  <a:t>盒</a:t>
                </a:r>
                <a:endParaRPr lang="zh-CN" altLang="en-US" sz="1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l="50000" t="50000" r="50000" b="50000"/>
                    </a:path>
                  </a:gradFill>
                  <a:latin typeface="+mn-ea"/>
                </a:endParaRPr>
              </a:p>
            </p:txBody>
          </p:sp>
        </p:grpSp>
        <p:grpSp>
          <p:nvGrpSpPr>
            <p:cNvPr id="217" name="组合 216"/>
            <p:cNvGrpSpPr/>
            <p:nvPr/>
          </p:nvGrpSpPr>
          <p:grpSpPr>
            <a:xfrm>
              <a:off x="8120454" y="1860722"/>
              <a:ext cx="335280" cy="335280"/>
              <a:chOff x="4284980" y="3629890"/>
              <a:chExt cx="335280" cy="335280"/>
            </a:xfrm>
          </p:grpSpPr>
          <p:sp>
            <p:nvSpPr>
              <p:cNvPr id="218" name="椭圆 217"/>
              <p:cNvSpPr/>
              <p:nvPr/>
            </p:nvSpPr>
            <p:spPr>
              <a:xfrm>
                <a:off x="4284980" y="3629890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19" name="组合 218"/>
              <p:cNvGrpSpPr/>
              <p:nvPr/>
            </p:nvGrpSpPr>
            <p:grpSpPr>
              <a:xfrm>
                <a:off x="4356735" y="3699105"/>
                <a:ext cx="193675" cy="196215"/>
                <a:chOff x="624893" y="5617901"/>
                <a:chExt cx="160602" cy="175194"/>
              </a:xfrm>
              <a:solidFill>
                <a:schemeClr val="bg1"/>
              </a:solidFill>
            </p:grpSpPr>
            <p:sp>
              <p:nvSpPr>
                <p:cNvPr id="220" name="任意多边形: 形状 219"/>
                <p:cNvSpPr/>
                <p:nvPr/>
              </p:nvSpPr>
              <p:spPr>
                <a:xfrm>
                  <a:off x="624893" y="5617901"/>
                  <a:ext cx="160602" cy="175194"/>
                </a:xfrm>
                <a:custGeom>
                  <a:avLst/>
                  <a:gdLst>
                    <a:gd name="connsiteX0" fmla="*/ 160603 w 160602"/>
                    <a:gd name="connsiteY0" fmla="*/ 44281 h 175194"/>
                    <a:gd name="connsiteX1" fmla="*/ 160603 w 160602"/>
                    <a:gd name="connsiteY1" fmla="*/ 132353 h 175194"/>
                    <a:gd name="connsiteX2" fmla="*/ 80297 w 160602"/>
                    <a:gd name="connsiteY2" fmla="*/ 175195 h 175194"/>
                    <a:gd name="connsiteX3" fmla="*/ 0 w 160602"/>
                    <a:gd name="connsiteY3" fmla="*/ 132353 h 175194"/>
                    <a:gd name="connsiteX4" fmla="*/ 0 w 160602"/>
                    <a:gd name="connsiteY4" fmla="*/ 43798 h 175194"/>
                    <a:gd name="connsiteX5" fmla="*/ 80297 w 160602"/>
                    <a:gd name="connsiteY5" fmla="*/ 0 h 175194"/>
                    <a:gd name="connsiteX6" fmla="*/ 160603 w 160602"/>
                    <a:gd name="connsiteY6" fmla="*/ 44281 h 175194"/>
                    <a:gd name="connsiteX7" fmla="*/ 7300 w 160602"/>
                    <a:gd name="connsiteY7" fmla="*/ 127973 h 175194"/>
                    <a:gd name="connsiteX8" fmla="*/ 76648 w 160602"/>
                    <a:gd name="connsiteY8" fmla="*/ 164975 h 175194"/>
                    <a:gd name="connsiteX9" fmla="*/ 76648 w 160602"/>
                    <a:gd name="connsiteY9" fmla="*/ 87817 h 175194"/>
                    <a:gd name="connsiteX10" fmla="*/ 7298 w 160602"/>
                    <a:gd name="connsiteY10" fmla="*/ 51712 h 175194"/>
                    <a:gd name="connsiteX11" fmla="*/ 7298 w 160602"/>
                    <a:gd name="connsiteY11" fmla="*/ 127973 h 175194"/>
                    <a:gd name="connsiteX12" fmla="*/ 122753 w 160602"/>
                    <a:gd name="connsiteY12" fmla="*/ 67862 h 175194"/>
                    <a:gd name="connsiteX13" fmla="*/ 122564 w 160602"/>
                    <a:gd name="connsiteY13" fmla="*/ 79908 h 175194"/>
                    <a:gd name="connsiteX14" fmla="*/ 114759 w 160602"/>
                    <a:gd name="connsiteY14" fmla="*/ 83683 h 175194"/>
                    <a:gd name="connsiteX15" fmla="*/ 114759 w 160602"/>
                    <a:gd name="connsiteY15" fmla="*/ 71977 h 175194"/>
                    <a:gd name="connsiteX16" fmla="*/ 83948 w 160602"/>
                    <a:gd name="connsiteY16" fmla="*/ 87832 h 175194"/>
                    <a:gd name="connsiteX17" fmla="*/ 83948 w 160602"/>
                    <a:gd name="connsiteY17" fmla="*/ 164976 h 175194"/>
                    <a:gd name="connsiteX18" fmla="*/ 153303 w 160602"/>
                    <a:gd name="connsiteY18" fmla="*/ 127973 h 175194"/>
                    <a:gd name="connsiteX19" fmla="*/ 153303 w 160602"/>
                    <a:gd name="connsiteY19" fmla="*/ 52142 h 175194"/>
                    <a:gd name="connsiteX20" fmla="*/ 122753 w 160602"/>
                    <a:gd name="connsiteY20" fmla="*/ 67862 h 175194"/>
                    <a:gd name="connsiteX21" fmla="*/ 113007 w 160602"/>
                    <a:gd name="connsiteY21" fmla="*/ 64669 h 175194"/>
                    <a:gd name="connsiteX22" fmla="*/ 43413 w 160602"/>
                    <a:gd name="connsiteY22" fmla="*/ 28433 h 175194"/>
                    <a:gd name="connsiteX23" fmla="*/ 11665 w 160602"/>
                    <a:gd name="connsiteY23" fmla="*/ 45755 h 175194"/>
                    <a:gd name="connsiteX24" fmla="*/ 80312 w 160602"/>
                    <a:gd name="connsiteY24" fmla="*/ 81495 h 175194"/>
                    <a:gd name="connsiteX25" fmla="*/ 113008 w 160602"/>
                    <a:gd name="connsiteY25" fmla="*/ 64668 h 175194"/>
                    <a:gd name="connsiteX26" fmla="*/ 51135 w 160602"/>
                    <a:gd name="connsiteY26" fmla="*/ 24220 h 175194"/>
                    <a:gd name="connsiteX27" fmla="*/ 120957 w 160602"/>
                    <a:gd name="connsiteY27" fmla="*/ 60573 h 175194"/>
                    <a:gd name="connsiteX28" fmla="*/ 148930 w 160602"/>
                    <a:gd name="connsiteY28" fmla="*/ 46179 h 175194"/>
                    <a:gd name="connsiteX29" fmla="*/ 80276 w 160602"/>
                    <a:gd name="connsiteY29" fmla="*/ 8329 h 175194"/>
                    <a:gd name="connsiteX30" fmla="*/ 51133 w 160602"/>
                    <a:gd name="connsiteY30" fmla="*/ 24220 h 175194"/>
                    <a:gd name="connsiteX31" fmla="*/ 134846 w 160602"/>
                    <a:gd name="connsiteY31" fmla="*/ 102909 h 175194"/>
                    <a:gd name="connsiteX32" fmla="*/ 132372 w 160602"/>
                    <a:gd name="connsiteY32" fmla="*/ 104230 h 175194"/>
                    <a:gd name="connsiteX33" fmla="*/ 132517 w 160602"/>
                    <a:gd name="connsiteY33" fmla="*/ 123315 h 175194"/>
                    <a:gd name="connsiteX34" fmla="*/ 131031 w 160602"/>
                    <a:gd name="connsiteY34" fmla="*/ 125569 h 175194"/>
                    <a:gd name="connsiteX35" fmla="*/ 127325 w 160602"/>
                    <a:gd name="connsiteY35" fmla="*/ 127417 h 175194"/>
                    <a:gd name="connsiteX36" fmla="*/ 125839 w 160602"/>
                    <a:gd name="connsiteY36" fmla="*/ 126660 h 175194"/>
                    <a:gd name="connsiteX37" fmla="*/ 125634 w 160602"/>
                    <a:gd name="connsiteY37" fmla="*/ 107828 h 175194"/>
                    <a:gd name="connsiteX38" fmla="*/ 123237 w 160602"/>
                    <a:gd name="connsiteY38" fmla="*/ 109108 h 175194"/>
                    <a:gd name="connsiteX39" fmla="*/ 121939 w 160602"/>
                    <a:gd name="connsiteY39" fmla="*/ 107521 h 175194"/>
                    <a:gd name="connsiteX40" fmla="*/ 127566 w 160602"/>
                    <a:gd name="connsiteY40" fmla="*/ 94129 h 175194"/>
                    <a:gd name="connsiteX41" fmla="*/ 130174 w 160602"/>
                    <a:gd name="connsiteY41" fmla="*/ 92680 h 175194"/>
                    <a:gd name="connsiteX42" fmla="*/ 136162 w 160602"/>
                    <a:gd name="connsiteY42" fmla="*/ 99874 h 175194"/>
                    <a:gd name="connsiteX43" fmla="*/ 134849 w 160602"/>
                    <a:gd name="connsiteY43" fmla="*/ 102911 h 175194"/>
                    <a:gd name="connsiteX44" fmla="*/ 110397 w 160602"/>
                    <a:gd name="connsiteY44" fmla="*/ 133325 h 175194"/>
                    <a:gd name="connsiteX45" fmla="*/ 109035 w 160602"/>
                    <a:gd name="connsiteY45" fmla="*/ 135463 h 175194"/>
                    <a:gd name="connsiteX46" fmla="*/ 105598 w 160602"/>
                    <a:gd name="connsiteY46" fmla="*/ 137174 h 175194"/>
                    <a:gd name="connsiteX47" fmla="*/ 104203 w 160602"/>
                    <a:gd name="connsiteY47" fmla="*/ 136427 h 175194"/>
                    <a:gd name="connsiteX48" fmla="*/ 103817 w 160602"/>
                    <a:gd name="connsiteY48" fmla="*/ 118390 h 175194"/>
                    <a:gd name="connsiteX49" fmla="*/ 101592 w 160602"/>
                    <a:gd name="connsiteY49" fmla="*/ 119577 h 175194"/>
                    <a:gd name="connsiteX50" fmla="*/ 100366 w 160602"/>
                    <a:gd name="connsiteY50" fmla="*/ 118036 h 175194"/>
                    <a:gd name="connsiteX51" fmla="*/ 105475 w 160602"/>
                    <a:gd name="connsiteY51" fmla="*/ 105312 h 175194"/>
                    <a:gd name="connsiteX52" fmla="*/ 107891 w 160602"/>
                    <a:gd name="connsiteY52" fmla="*/ 103969 h 175194"/>
                    <a:gd name="connsiteX53" fmla="*/ 113544 w 160602"/>
                    <a:gd name="connsiteY53" fmla="*/ 110951 h 175194"/>
                    <a:gd name="connsiteX54" fmla="*/ 112354 w 160602"/>
                    <a:gd name="connsiteY54" fmla="*/ 113833 h 175194"/>
                    <a:gd name="connsiteX55" fmla="*/ 110061 w 160602"/>
                    <a:gd name="connsiteY55" fmla="*/ 115057 h 175194"/>
                    <a:gd name="connsiteX56" fmla="*/ 110397 w 160602"/>
                    <a:gd name="connsiteY56" fmla="*/ 133325 h 175194"/>
                    <a:gd name="connsiteX57" fmla="*/ 139275 w 160602"/>
                    <a:gd name="connsiteY57" fmla="*/ 128188 h 175194"/>
                    <a:gd name="connsiteX58" fmla="*/ 138514 w 160602"/>
                    <a:gd name="connsiteY58" fmla="*/ 129317 h 175194"/>
                    <a:gd name="connsiteX59" fmla="*/ 99239 w 160602"/>
                    <a:gd name="connsiteY59" fmla="*/ 148383 h 175194"/>
                    <a:gd name="connsiteX60" fmla="*/ 98559 w 160602"/>
                    <a:gd name="connsiteY60" fmla="*/ 148005 h 175194"/>
                    <a:gd name="connsiteX61" fmla="*/ 98506 w 160602"/>
                    <a:gd name="connsiteY61" fmla="*/ 145905 h 175194"/>
                    <a:gd name="connsiteX62" fmla="*/ 99154 w 160602"/>
                    <a:gd name="connsiteY62" fmla="*/ 144877 h 175194"/>
                    <a:gd name="connsiteX63" fmla="*/ 138497 w 160602"/>
                    <a:gd name="connsiteY63" fmla="*/ 125524 h 175194"/>
                    <a:gd name="connsiteX64" fmla="*/ 139264 w 160602"/>
                    <a:gd name="connsiteY64" fmla="*/ 125908 h 175194"/>
                    <a:gd name="connsiteX65" fmla="*/ 139275 w 160602"/>
                    <a:gd name="connsiteY65" fmla="*/ 128188 h 175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60602" h="175194">
                      <a:moveTo>
                        <a:pt x="160603" y="44281"/>
                      </a:moveTo>
                      <a:lnTo>
                        <a:pt x="160603" y="132353"/>
                      </a:lnTo>
                      <a:lnTo>
                        <a:pt x="80297" y="175195"/>
                      </a:lnTo>
                      <a:lnTo>
                        <a:pt x="0" y="132353"/>
                      </a:lnTo>
                      <a:lnTo>
                        <a:pt x="0" y="43798"/>
                      </a:lnTo>
                      <a:lnTo>
                        <a:pt x="80297" y="0"/>
                      </a:lnTo>
                      <a:lnTo>
                        <a:pt x="160603" y="44281"/>
                      </a:lnTo>
                      <a:close/>
                      <a:moveTo>
                        <a:pt x="7300" y="127973"/>
                      </a:moveTo>
                      <a:lnTo>
                        <a:pt x="76648" y="164975"/>
                      </a:lnTo>
                      <a:lnTo>
                        <a:pt x="76648" y="87817"/>
                      </a:lnTo>
                      <a:lnTo>
                        <a:pt x="7298" y="51712"/>
                      </a:lnTo>
                      <a:lnTo>
                        <a:pt x="7298" y="127973"/>
                      </a:lnTo>
                      <a:close/>
                      <a:moveTo>
                        <a:pt x="122753" y="67862"/>
                      </a:moveTo>
                      <a:lnTo>
                        <a:pt x="122564" y="79908"/>
                      </a:lnTo>
                      <a:lnTo>
                        <a:pt x="114759" y="83683"/>
                      </a:lnTo>
                      <a:lnTo>
                        <a:pt x="114759" y="71977"/>
                      </a:lnTo>
                      <a:lnTo>
                        <a:pt x="83948" y="87832"/>
                      </a:lnTo>
                      <a:lnTo>
                        <a:pt x="83948" y="164976"/>
                      </a:lnTo>
                      <a:lnTo>
                        <a:pt x="153303" y="127973"/>
                      </a:lnTo>
                      <a:lnTo>
                        <a:pt x="153303" y="52142"/>
                      </a:lnTo>
                      <a:lnTo>
                        <a:pt x="122753" y="67862"/>
                      </a:lnTo>
                      <a:close/>
                      <a:moveTo>
                        <a:pt x="113007" y="64669"/>
                      </a:moveTo>
                      <a:lnTo>
                        <a:pt x="43413" y="28433"/>
                      </a:lnTo>
                      <a:lnTo>
                        <a:pt x="11665" y="45755"/>
                      </a:lnTo>
                      <a:lnTo>
                        <a:pt x="80312" y="81495"/>
                      </a:lnTo>
                      <a:lnTo>
                        <a:pt x="113008" y="64668"/>
                      </a:lnTo>
                      <a:close/>
                      <a:moveTo>
                        <a:pt x="51135" y="24220"/>
                      </a:moveTo>
                      <a:lnTo>
                        <a:pt x="120957" y="60573"/>
                      </a:lnTo>
                      <a:lnTo>
                        <a:pt x="148930" y="46179"/>
                      </a:lnTo>
                      <a:lnTo>
                        <a:pt x="80276" y="8329"/>
                      </a:lnTo>
                      <a:lnTo>
                        <a:pt x="51133" y="24220"/>
                      </a:lnTo>
                      <a:close/>
                      <a:moveTo>
                        <a:pt x="134846" y="102909"/>
                      </a:moveTo>
                      <a:lnTo>
                        <a:pt x="132372" y="104230"/>
                      </a:lnTo>
                      <a:lnTo>
                        <a:pt x="132517" y="123315"/>
                      </a:lnTo>
                      <a:cubicBezTo>
                        <a:pt x="132522" y="124148"/>
                        <a:pt x="131857" y="125158"/>
                        <a:pt x="131031" y="125569"/>
                      </a:cubicBezTo>
                      <a:lnTo>
                        <a:pt x="127325" y="127417"/>
                      </a:lnTo>
                      <a:cubicBezTo>
                        <a:pt x="126512" y="127823"/>
                        <a:pt x="125848" y="127482"/>
                        <a:pt x="125839" y="126660"/>
                      </a:cubicBezTo>
                      <a:lnTo>
                        <a:pt x="125634" y="107828"/>
                      </a:lnTo>
                      <a:lnTo>
                        <a:pt x="123237" y="109108"/>
                      </a:lnTo>
                      <a:cubicBezTo>
                        <a:pt x="122109" y="109710"/>
                        <a:pt x="121390" y="108829"/>
                        <a:pt x="121939" y="107521"/>
                      </a:cubicBezTo>
                      <a:lnTo>
                        <a:pt x="127566" y="94129"/>
                      </a:lnTo>
                      <a:cubicBezTo>
                        <a:pt x="128133" y="92778"/>
                        <a:pt x="129584" y="91969"/>
                        <a:pt x="130174" y="92680"/>
                      </a:cubicBezTo>
                      <a:lnTo>
                        <a:pt x="136162" y="99874"/>
                      </a:lnTo>
                      <a:cubicBezTo>
                        <a:pt x="136760" y="100593"/>
                        <a:pt x="136028" y="102282"/>
                        <a:pt x="134849" y="102911"/>
                      </a:cubicBezTo>
                      <a:close/>
                      <a:moveTo>
                        <a:pt x="110397" y="133325"/>
                      </a:moveTo>
                      <a:cubicBezTo>
                        <a:pt x="110410" y="134125"/>
                        <a:pt x="109801" y="135080"/>
                        <a:pt x="109035" y="135463"/>
                      </a:cubicBezTo>
                      <a:lnTo>
                        <a:pt x="105598" y="137174"/>
                      </a:lnTo>
                      <a:cubicBezTo>
                        <a:pt x="104843" y="137550"/>
                        <a:pt x="104221" y="137214"/>
                        <a:pt x="104203" y="136427"/>
                      </a:cubicBezTo>
                      <a:lnTo>
                        <a:pt x="103817" y="118390"/>
                      </a:lnTo>
                      <a:lnTo>
                        <a:pt x="101592" y="119577"/>
                      </a:lnTo>
                      <a:cubicBezTo>
                        <a:pt x="100547" y="120134"/>
                        <a:pt x="99868" y="119279"/>
                        <a:pt x="100366" y="118036"/>
                      </a:cubicBezTo>
                      <a:lnTo>
                        <a:pt x="105475" y="105312"/>
                      </a:lnTo>
                      <a:cubicBezTo>
                        <a:pt x="105989" y="104027"/>
                        <a:pt x="107332" y="103279"/>
                        <a:pt x="107891" y="103969"/>
                      </a:cubicBezTo>
                      <a:lnTo>
                        <a:pt x="113544" y="110951"/>
                      </a:lnTo>
                      <a:cubicBezTo>
                        <a:pt x="114109" y="111648"/>
                        <a:pt x="113445" y="113251"/>
                        <a:pt x="112354" y="113833"/>
                      </a:cubicBezTo>
                      <a:lnTo>
                        <a:pt x="110061" y="115057"/>
                      </a:lnTo>
                      <a:lnTo>
                        <a:pt x="110397" y="133325"/>
                      </a:lnTo>
                      <a:close/>
                      <a:moveTo>
                        <a:pt x="139275" y="128188"/>
                      </a:moveTo>
                      <a:cubicBezTo>
                        <a:pt x="139276" y="128608"/>
                        <a:pt x="138936" y="129113"/>
                        <a:pt x="138514" y="129317"/>
                      </a:cubicBezTo>
                      <a:lnTo>
                        <a:pt x="99239" y="148383"/>
                      </a:lnTo>
                      <a:cubicBezTo>
                        <a:pt x="98872" y="148561"/>
                        <a:pt x="98568" y="148392"/>
                        <a:pt x="98559" y="148005"/>
                      </a:cubicBezTo>
                      <a:lnTo>
                        <a:pt x="98506" y="145905"/>
                      </a:lnTo>
                      <a:cubicBezTo>
                        <a:pt x="98498" y="145517"/>
                        <a:pt x="98787" y="145056"/>
                        <a:pt x="99154" y="144877"/>
                      </a:cubicBezTo>
                      <a:lnTo>
                        <a:pt x="138497" y="125524"/>
                      </a:lnTo>
                      <a:cubicBezTo>
                        <a:pt x="138919" y="125317"/>
                        <a:pt x="139263" y="125489"/>
                        <a:pt x="139264" y="125908"/>
                      </a:cubicBezTo>
                      <a:lnTo>
                        <a:pt x="139275" y="128188"/>
                      </a:lnTo>
                      <a:close/>
                    </a:path>
                  </a:pathLst>
                </a:custGeom>
                <a:grpFill/>
                <a:ln w="1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000"/>
                </a:p>
              </p:txBody>
            </p:sp>
            <p:sp>
              <p:nvSpPr>
                <p:cNvPr id="221" name="任意多边形: 形状 220"/>
                <p:cNvSpPr/>
                <p:nvPr/>
              </p:nvSpPr>
              <p:spPr>
                <a:xfrm>
                  <a:off x="674003" y="5728082"/>
                  <a:ext cx="18907" cy="36341"/>
                </a:xfrm>
                <a:custGeom>
                  <a:avLst/>
                  <a:gdLst>
                    <a:gd name="connsiteX0" fmla="*/ 18591 w 18907"/>
                    <a:gd name="connsiteY0" fmla="*/ 34611 h 36341"/>
                    <a:gd name="connsiteX1" fmla="*/ 18142 w 18907"/>
                    <a:gd name="connsiteY1" fmla="*/ 33997 h 36341"/>
                    <a:gd name="connsiteX2" fmla="*/ 228 w 18907"/>
                    <a:gd name="connsiteY2" fmla="*/ 26253 h 36341"/>
                    <a:gd name="connsiteX3" fmla="*/ 12 w 18907"/>
                    <a:gd name="connsiteY3" fmla="*/ 26551 h 36341"/>
                    <a:gd name="connsiteX4" fmla="*/ 274 w 18907"/>
                    <a:gd name="connsiteY4" fmla="*/ 27839 h 36341"/>
                    <a:gd name="connsiteX5" fmla="*/ 665 w 18907"/>
                    <a:gd name="connsiteY5" fmla="*/ 28403 h 36341"/>
                    <a:gd name="connsiteX6" fmla="*/ 18644 w 18907"/>
                    <a:gd name="connsiteY6" fmla="*/ 36316 h 36341"/>
                    <a:gd name="connsiteX7" fmla="*/ 18894 w 18907"/>
                    <a:gd name="connsiteY7" fmla="*/ 36006 h 36341"/>
                    <a:gd name="connsiteX8" fmla="*/ 18592 w 18907"/>
                    <a:gd name="connsiteY8" fmla="*/ 34611 h 36341"/>
                    <a:gd name="connsiteX9" fmla="*/ 18591 w 18907"/>
                    <a:gd name="connsiteY9" fmla="*/ 29365 h 36341"/>
                    <a:gd name="connsiteX10" fmla="*/ 18142 w 18907"/>
                    <a:gd name="connsiteY10" fmla="*/ 28751 h 36341"/>
                    <a:gd name="connsiteX11" fmla="*/ 228 w 18907"/>
                    <a:gd name="connsiteY11" fmla="*/ 21007 h 36341"/>
                    <a:gd name="connsiteX12" fmla="*/ 12 w 18907"/>
                    <a:gd name="connsiteY12" fmla="*/ 21304 h 36341"/>
                    <a:gd name="connsiteX13" fmla="*/ 274 w 18907"/>
                    <a:gd name="connsiteY13" fmla="*/ 22592 h 36341"/>
                    <a:gd name="connsiteX14" fmla="*/ 665 w 18907"/>
                    <a:gd name="connsiteY14" fmla="*/ 23156 h 36341"/>
                    <a:gd name="connsiteX15" fmla="*/ 18644 w 18907"/>
                    <a:gd name="connsiteY15" fmla="*/ 31070 h 36341"/>
                    <a:gd name="connsiteX16" fmla="*/ 18894 w 18907"/>
                    <a:gd name="connsiteY16" fmla="*/ 30759 h 36341"/>
                    <a:gd name="connsiteX17" fmla="*/ 18592 w 18907"/>
                    <a:gd name="connsiteY17" fmla="*/ 29364 h 36341"/>
                    <a:gd name="connsiteX18" fmla="*/ 18591 w 18907"/>
                    <a:gd name="connsiteY18" fmla="*/ 24118 h 36341"/>
                    <a:gd name="connsiteX19" fmla="*/ 18142 w 18907"/>
                    <a:gd name="connsiteY19" fmla="*/ 23504 h 36341"/>
                    <a:gd name="connsiteX20" fmla="*/ 228 w 18907"/>
                    <a:gd name="connsiteY20" fmla="*/ 15760 h 36341"/>
                    <a:gd name="connsiteX21" fmla="*/ 12 w 18907"/>
                    <a:gd name="connsiteY21" fmla="*/ 16057 h 36341"/>
                    <a:gd name="connsiteX22" fmla="*/ 274 w 18907"/>
                    <a:gd name="connsiteY22" fmla="*/ 17346 h 36341"/>
                    <a:gd name="connsiteX23" fmla="*/ 665 w 18907"/>
                    <a:gd name="connsiteY23" fmla="*/ 17910 h 36341"/>
                    <a:gd name="connsiteX24" fmla="*/ 18644 w 18907"/>
                    <a:gd name="connsiteY24" fmla="*/ 25823 h 36341"/>
                    <a:gd name="connsiteX25" fmla="*/ 18894 w 18907"/>
                    <a:gd name="connsiteY25" fmla="*/ 25512 h 36341"/>
                    <a:gd name="connsiteX26" fmla="*/ 18592 w 18907"/>
                    <a:gd name="connsiteY26" fmla="*/ 24118 h 36341"/>
                    <a:gd name="connsiteX27" fmla="*/ 18591 w 18907"/>
                    <a:gd name="connsiteY27" fmla="*/ 18871 h 36341"/>
                    <a:gd name="connsiteX28" fmla="*/ 18142 w 18907"/>
                    <a:gd name="connsiteY28" fmla="*/ 18257 h 36341"/>
                    <a:gd name="connsiteX29" fmla="*/ 228 w 18907"/>
                    <a:gd name="connsiteY29" fmla="*/ 10513 h 36341"/>
                    <a:gd name="connsiteX30" fmla="*/ 12 w 18907"/>
                    <a:gd name="connsiteY30" fmla="*/ 10811 h 36341"/>
                    <a:gd name="connsiteX31" fmla="*/ 274 w 18907"/>
                    <a:gd name="connsiteY31" fmla="*/ 12099 h 36341"/>
                    <a:gd name="connsiteX32" fmla="*/ 665 w 18907"/>
                    <a:gd name="connsiteY32" fmla="*/ 12663 h 36341"/>
                    <a:gd name="connsiteX33" fmla="*/ 18644 w 18907"/>
                    <a:gd name="connsiteY33" fmla="*/ 20576 h 36341"/>
                    <a:gd name="connsiteX34" fmla="*/ 18894 w 18907"/>
                    <a:gd name="connsiteY34" fmla="*/ 20265 h 36341"/>
                    <a:gd name="connsiteX35" fmla="*/ 18592 w 18907"/>
                    <a:gd name="connsiteY35" fmla="*/ 18871 h 36341"/>
                    <a:gd name="connsiteX36" fmla="*/ 18591 w 18907"/>
                    <a:gd name="connsiteY36" fmla="*/ 13624 h 36341"/>
                    <a:gd name="connsiteX37" fmla="*/ 18142 w 18907"/>
                    <a:gd name="connsiteY37" fmla="*/ 13010 h 36341"/>
                    <a:gd name="connsiteX38" fmla="*/ 228 w 18907"/>
                    <a:gd name="connsiteY38" fmla="*/ 5266 h 36341"/>
                    <a:gd name="connsiteX39" fmla="*/ 12 w 18907"/>
                    <a:gd name="connsiteY39" fmla="*/ 5564 h 36341"/>
                    <a:gd name="connsiteX40" fmla="*/ 274 w 18907"/>
                    <a:gd name="connsiteY40" fmla="*/ 6852 h 36341"/>
                    <a:gd name="connsiteX41" fmla="*/ 665 w 18907"/>
                    <a:gd name="connsiteY41" fmla="*/ 7416 h 36341"/>
                    <a:gd name="connsiteX42" fmla="*/ 18644 w 18907"/>
                    <a:gd name="connsiteY42" fmla="*/ 15330 h 36341"/>
                    <a:gd name="connsiteX43" fmla="*/ 18894 w 18907"/>
                    <a:gd name="connsiteY43" fmla="*/ 15019 h 36341"/>
                    <a:gd name="connsiteX44" fmla="*/ 18592 w 18907"/>
                    <a:gd name="connsiteY44" fmla="*/ 13624 h 36341"/>
                    <a:gd name="connsiteX45" fmla="*/ 18591 w 18907"/>
                    <a:gd name="connsiteY45" fmla="*/ 8378 h 36341"/>
                    <a:gd name="connsiteX46" fmla="*/ 18142 w 18907"/>
                    <a:gd name="connsiteY46" fmla="*/ 7764 h 36341"/>
                    <a:gd name="connsiteX47" fmla="*/ 228 w 18907"/>
                    <a:gd name="connsiteY47" fmla="*/ 20 h 36341"/>
                    <a:gd name="connsiteX48" fmla="*/ 12 w 18907"/>
                    <a:gd name="connsiteY48" fmla="*/ 317 h 36341"/>
                    <a:gd name="connsiteX49" fmla="*/ 274 w 18907"/>
                    <a:gd name="connsiteY49" fmla="*/ 1605 h 36341"/>
                    <a:gd name="connsiteX50" fmla="*/ 665 w 18907"/>
                    <a:gd name="connsiteY50" fmla="*/ 2169 h 36341"/>
                    <a:gd name="connsiteX51" fmla="*/ 18644 w 18907"/>
                    <a:gd name="connsiteY51" fmla="*/ 10083 h 36341"/>
                    <a:gd name="connsiteX52" fmla="*/ 18894 w 18907"/>
                    <a:gd name="connsiteY52" fmla="*/ 9772 h 36341"/>
                    <a:gd name="connsiteX53" fmla="*/ 18592 w 18907"/>
                    <a:gd name="connsiteY53" fmla="*/ 8377 h 36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18907" h="36341">
                      <a:moveTo>
                        <a:pt x="18591" y="34611"/>
                      </a:moveTo>
                      <a:cubicBezTo>
                        <a:pt x="18536" y="34355"/>
                        <a:pt x="18335" y="34080"/>
                        <a:pt x="18142" y="33997"/>
                      </a:cubicBezTo>
                      <a:lnTo>
                        <a:pt x="228" y="26253"/>
                      </a:lnTo>
                      <a:cubicBezTo>
                        <a:pt x="60" y="26181"/>
                        <a:pt x="-35" y="26315"/>
                        <a:pt x="12" y="26551"/>
                      </a:cubicBezTo>
                      <a:lnTo>
                        <a:pt x="274" y="27839"/>
                      </a:lnTo>
                      <a:cubicBezTo>
                        <a:pt x="322" y="28078"/>
                        <a:pt x="497" y="28330"/>
                        <a:pt x="665" y="28403"/>
                      </a:cubicBezTo>
                      <a:lnTo>
                        <a:pt x="18644" y="36316"/>
                      </a:lnTo>
                      <a:cubicBezTo>
                        <a:pt x="18837" y="36402"/>
                        <a:pt x="18949" y="36261"/>
                        <a:pt x="18894" y="36006"/>
                      </a:cubicBezTo>
                      <a:lnTo>
                        <a:pt x="18592" y="34611"/>
                      </a:lnTo>
                      <a:close/>
                      <a:moveTo>
                        <a:pt x="18591" y="29365"/>
                      </a:moveTo>
                      <a:cubicBezTo>
                        <a:pt x="18536" y="29109"/>
                        <a:pt x="18335" y="28833"/>
                        <a:pt x="18142" y="28751"/>
                      </a:cubicBezTo>
                      <a:lnTo>
                        <a:pt x="228" y="21007"/>
                      </a:lnTo>
                      <a:cubicBezTo>
                        <a:pt x="60" y="20934"/>
                        <a:pt x="-35" y="21068"/>
                        <a:pt x="12" y="21304"/>
                      </a:cubicBezTo>
                      <a:lnTo>
                        <a:pt x="274" y="22592"/>
                      </a:lnTo>
                      <a:cubicBezTo>
                        <a:pt x="322" y="22831"/>
                        <a:pt x="497" y="23083"/>
                        <a:pt x="665" y="23156"/>
                      </a:cubicBezTo>
                      <a:lnTo>
                        <a:pt x="18644" y="31070"/>
                      </a:lnTo>
                      <a:cubicBezTo>
                        <a:pt x="18837" y="31155"/>
                        <a:pt x="18949" y="31015"/>
                        <a:pt x="18894" y="30759"/>
                      </a:cubicBezTo>
                      <a:lnTo>
                        <a:pt x="18592" y="29364"/>
                      </a:lnTo>
                      <a:close/>
                      <a:moveTo>
                        <a:pt x="18591" y="24118"/>
                      </a:moveTo>
                      <a:cubicBezTo>
                        <a:pt x="18536" y="23862"/>
                        <a:pt x="18335" y="23587"/>
                        <a:pt x="18142" y="23504"/>
                      </a:cubicBezTo>
                      <a:lnTo>
                        <a:pt x="228" y="15760"/>
                      </a:lnTo>
                      <a:cubicBezTo>
                        <a:pt x="60" y="15688"/>
                        <a:pt x="-35" y="15821"/>
                        <a:pt x="12" y="16057"/>
                      </a:cubicBezTo>
                      <a:lnTo>
                        <a:pt x="274" y="17346"/>
                      </a:lnTo>
                      <a:cubicBezTo>
                        <a:pt x="322" y="17584"/>
                        <a:pt x="497" y="17836"/>
                        <a:pt x="665" y="17910"/>
                      </a:cubicBezTo>
                      <a:lnTo>
                        <a:pt x="18644" y="25823"/>
                      </a:lnTo>
                      <a:cubicBezTo>
                        <a:pt x="18837" y="25908"/>
                        <a:pt x="18949" y="25768"/>
                        <a:pt x="18894" y="25512"/>
                      </a:cubicBezTo>
                      <a:lnTo>
                        <a:pt x="18592" y="24118"/>
                      </a:lnTo>
                      <a:close/>
                      <a:moveTo>
                        <a:pt x="18591" y="18871"/>
                      </a:moveTo>
                      <a:cubicBezTo>
                        <a:pt x="18536" y="18615"/>
                        <a:pt x="18335" y="18340"/>
                        <a:pt x="18142" y="18257"/>
                      </a:cubicBezTo>
                      <a:lnTo>
                        <a:pt x="228" y="10513"/>
                      </a:lnTo>
                      <a:cubicBezTo>
                        <a:pt x="60" y="10441"/>
                        <a:pt x="-35" y="10575"/>
                        <a:pt x="12" y="10811"/>
                      </a:cubicBezTo>
                      <a:lnTo>
                        <a:pt x="274" y="12099"/>
                      </a:lnTo>
                      <a:cubicBezTo>
                        <a:pt x="322" y="12338"/>
                        <a:pt x="497" y="12589"/>
                        <a:pt x="665" y="12663"/>
                      </a:cubicBezTo>
                      <a:lnTo>
                        <a:pt x="18644" y="20576"/>
                      </a:lnTo>
                      <a:cubicBezTo>
                        <a:pt x="18837" y="20661"/>
                        <a:pt x="18949" y="20521"/>
                        <a:pt x="18894" y="20265"/>
                      </a:cubicBezTo>
                      <a:lnTo>
                        <a:pt x="18592" y="18871"/>
                      </a:lnTo>
                      <a:close/>
                      <a:moveTo>
                        <a:pt x="18591" y="13624"/>
                      </a:moveTo>
                      <a:cubicBezTo>
                        <a:pt x="18536" y="13369"/>
                        <a:pt x="18335" y="13093"/>
                        <a:pt x="18142" y="13010"/>
                      </a:cubicBezTo>
                      <a:lnTo>
                        <a:pt x="228" y="5266"/>
                      </a:lnTo>
                      <a:cubicBezTo>
                        <a:pt x="60" y="5194"/>
                        <a:pt x="-35" y="5328"/>
                        <a:pt x="12" y="5564"/>
                      </a:cubicBezTo>
                      <a:lnTo>
                        <a:pt x="274" y="6852"/>
                      </a:lnTo>
                      <a:cubicBezTo>
                        <a:pt x="322" y="7091"/>
                        <a:pt x="497" y="7343"/>
                        <a:pt x="665" y="7416"/>
                      </a:cubicBezTo>
                      <a:lnTo>
                        <a:pt x="18644" y="15330"/>
                      </a:lnTo>
                      <a:cubicBezTo>
                        <a:pt x="18837" y="15415"/>
                        <a:pt x="18949" y="15274"/>
                        <a:pt x="18894" y="15019"/>
                      </a:cubicBezTo>
                      <a:lnTo>
                        <a:pt x="18592" y="13624"/>
                      </a:lnTo>
                      <a:close/>
                      <a:moveTo>
                        <a:pt x="18591" y="8378"/>
                      </a:moveTo>
                      <a:cubicBezTo>
                        <a:pt x="18536" y="8122"/>
                        <a:pt x="18335" y="7846"/>
                        <a:pt x="18142" y="7764"/>
                      </a:cubicBezTo>
                      <a:lnTo>
                        <a:pt x="228" y="20"/>
                      </a:lnTo>
                      <a:cubicBezTo>
                        <a:pt x="60" y="-53"/>
                        <a:pt x="-35" y="81"/>
                        <a:pt x="12" y="317"/>
                      </a:cubicBezTo>
                      <a:lnTo>
                        <a:pt x="274" y="1605"/>
                      </a:lnTo>
                      <a:cubicBezTo>
                        <a:pt x="322" y="1844"/>
                        <a:pt x="497" y="2096"/>
                        <a:pt x="665" y="2169"/>
                      </a:cubicBezTo>
                      <a:lnTo>
                        <a:pt x="18644" y="10083"/>
                      </a:lnTo>
                      <a:cubicBezTo>
                        <a:pt x="18837" y="10168"/>
                        <a:pt x="18949" y="10028"/>
                        <a:pt x="18894" y="9772"/>
                      </a:cubicBezTo>
                      <a:lnTo>
                        <a:pt x="18592" y="8377"/>
                      </a:lnTo>
                      <a:close/>
                    </a:path>
                  </a:pathLst>
                </a:custGeom>
                <a:grpFill/>
                <a:ln w="1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000"/>
                </a:p>
              </p:txBody>
            </p:sp>
          </p:grpSp>
        </p:grpSp>
      </p:grpSp>
      <p:grpSp>
        <p:nvGrpSpPr>
          <p:cNvPr id="236" name="组合 235"/>
          <p:cNvGrpSpPr/>
          <p:nvPr/>
        </p:nvGrpSpPr>
        <p:grpSpPr>
          <a:xfrm>
            <a:off x="523506" y="2456081"/>
            <a:ext cx="3638818" cy="659205"/>
            <a:chOff x="8029676" y="2456081"/>
            <a:chExt cx="3638818" cy="659205"/>
          </a:xfrm>
        </p:grpSpPr>
        <p:grpSp>
          <p:nvGrpSpPr>
            <p:cNvPr id="224" name="组合 223"/>
            <p:cNvGrpSpPr/>
            <p:nvPr/>
          </p:nvGrpSpPr>
          <p:grpSpPr>
            <a:xfrm>
              <a:off x="8029676" y="2456081"/>
              <a:ext cx="3638818" cy="659205"/>
              <a:chOff x="8029676" y="1706697"/>
              <a:chExt cx="3638818" cy="659205"/>
            </a:xfrm>
          </p:grpSpPr>
          <p:sp>
            <p:nvSpPr>
              <p:cNvPr id="225" name="矩形: 圆角 224"/>
              <p:cNvSpPr/>
              <p:nvPr/>
            </p:nvSpPr>
            <p:spPr>
              <a:xfrm>
                <a:off x="8029676" y="1706697"/>
                <a:ext cx="3638818" cy="643331"/>
              </a:xfrm>
              <a:prstGeom prst="roundRect">
                <a:avLst>
                  <a:gd name="adj" fmla="val 3780"/>
                </a:avLst>
              </a:prstGeom>
              <a:solidFill>
                <a:srgbClr val="EFF7F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26" name="组合 225"/>
              <p:cNvGrpSpPr/>
              <p:nvPr/>
            </p:nvGrpSpPr>
            <p:grpSpPr>
              <a:xfrm>
                <a:off x="8485349" y="1760219"/>
                <a:ext cx="3166520" cy="605683"/>
                <a:chOff x="1143840" y="4928119"/>
                <a:chExt cx="3318031" cy="605620"/>
              </a:xfrm>
            </p:grpSpPr>
            <p:sp>
              <p:nvSpPr>
                <p:cNvPr id="232" name="文本框 231"/>
                <p:cNvSpPr txBox="1"/>
                <p:nvPr/>
              </p:nvSpPr>
              <p:spPr>
                <a:xfrm>
                  <a:off x="1143840" y="4928119"/>
                  <a:ext cx="2348138" cy="28635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ctr">
                  <a:spAutoFit/>
                </a:bodyPr>
                <a:lstStyle/>
                <a:p>
                  <a:pPr indent="0">
                    <a:lnSpc>
                      <a:spcPct val="100000"/>
                    </a:lnSpc>
                    <a:buNone/>
                  </a:pP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【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中国大陆首次上市时间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】</a:t>
                  </a:r>
                  <a:endPara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233" name="文本框 232"/>
                <p:cNvSpPr txBox="1"/>
                <p:nvPr/>
              </p:nvSpPr>
              <p:spPr>
                <a:xfrm>
                  <a:off x="1188556" y="5178410"/>
                  <a:ext cx="3273315" cy="355329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t">
                  <a:spAutoFit/>
                </a:bodyPr>
                <a:lstStyle/>
                <a:p>
                  <a:pPr>
                    <a:lnSpc>
                      <a:spcPct val="130000"/>
                    </a:lnSpc>
                    <a:buNone/>
                  </a:pPr>
                  <a:r>
                    <a:rPr lang="en-US" altLang="zh-CN" sz="12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2024</a:t>
                  </a:r>
                  <a:r>
                    <a:rPr lang="zh-CN" altLang="en-US" sz="12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年</a:t>
                  </a:r>
                  <a:r>
                    <a:rPr lang="en-US" altLang="zh-CN" sz="12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9</a:t>
                  </a:r>
                  <a:r>
                    <a:rPr lang="zh-CN" altLang="en-US" sz="12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月</a:t>
                  </a:r>
                  <a:endParaRPr lang="zh-CN" altLang="en-US" sz="12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endParaRPr>
                </a:p>
              </p:txBody>
            </p:sp>
          </p:grpSp>
          <p:sp>
            <p:nvSpPr>
              <p:cNvPr id="228" name="椭圆 227"/>
              <p:cNvSpPr/>
              <p:nvPr/>
            </p:nvSpPr>
            <p:spPr>
              <a:xfrm>
                <a:off x="8120454" y="1860722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235" name="图形 234"/>
            <p:cNvPicPr>
              <a:picLocks noChangeAspect="1"/>
            </p:cNvPicPr>
            <p:nvPr/>
          </p:nvPicPr>
          <p:blipFill>
            <a:blip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8190130" y="2682312"/>
              <a:ext cx="193675" cy="179705"/>
            </a:xfrm>
            <a:prstGeom prst="rect">
              <a:avLst/>
            </a:prstGeom>
          </p:spPr>
        </p:pic>
      </p:grpSp>
      <p:grpSp>
        <p:nvGrpSpPr>
          <p:cNvPr id="517" name="组合 516"/>
          <p:cNvGrpSpPr/>
          <p:nvPr/>
        </p:nvGrpSpPr>
        <p:grpSpPr>
          <a:xfrm>
            <a:off x="523506" y="1706697"/>
            <a:ext cx="3638818" cy="643331"/>
            <a:chOff x="523506" y="1706697"/>
            <a:chExt cx="3638818" cy="643331"/>
          </a:xfrm>
        </p:grpSpPr>
        <p:grpSp>
          <p:nvGrpSpPr>
            <p:cNvPr id="237" name="组合 236"/>
            <p:cNvGrpSpPr/>
            <p:nvPr/>
          </p:nvGrpSpPr>
          <p:grpSpPr>
            <a:xfrm>
              <a:off x="523506" y="1706697"/>
              <a:ext cx="3638818" cy="643331"/>
              <a:chOff x="8029676" y="1706697"/>
              <a:chExt cx="3638818" cy="643331"/>
            </a:xfrm>
          </p:grpSpPr>
          <p:sp>
            <p:nvSpPr>
              <p:cNvPr id="238" name="矩形: 圆角 237"/>
              <p:cNvSpPr/>
              <p:nvPr/>
            </p:nvSpPr>
            <p:spPr>
              <a:xfrm>
                <a:off x="8029676" y="1706697"/>
                <a:ext cx="3638818" cy="643331"/>
              </a:xfrm>
              <a:prstGeom prst="roundRect">
                <a:avLst>
                  <a:gd name="adj" fmla="val 3780"/>
                </a:avLst>
              </a:prstGeom>
              <a:solidFill>
                <a:srgbClr val="EFF7F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39" name="组合 238"/>
              <p:cNvGrpSpPr/>
              <p:nvPr/>
            </p:nvGrpSpPr>
            <p:grpSpPr>
              <a:xfrm>
                <a:off x="8485349" y="1765857"/>
                <a:ext cx="3183145" cy="548075"/>
                <a:chOff x="1143840" y="4933759"/>
                <a:chExt cx="3335451" cy="548018"/>
              </a:xfrm>
            </p:grpSpPr>
            <p:sp>
              <p:nvSpPr>
                <p:cNvPr id="245" name="文本框 244"/>
                <p:cNvSpPr txBox="1"/>
                <p:nvPr/>
              </p:nvSpPr>
              <p:spPr>
                <a:xfrm>
                  <a:off x="1143840" y="4933759"/>
                  <a:ext cx="1130100" cy="30148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ctr">
                  <a:spAutoFit/>
                </a:bodyPr>
                <a:lstStyle/>
                <a:p>
                  <a:pPr indent="0">
                    <a:lnSpc>
                      <a:spcPct val="100000"/>
                    </a:lnSpc>
                    <a:buNone/>
                  </a:pP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【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注册规格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】</a:t>
                  </a:r>
                  <a:endPara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246" name="文本框 245"/>
                <p:cNvSpPr txBox="1"/>
                <p:nvPr/>
              </p:nvSpPr>
              <p:spPr>
                <a:xfrm>
                  <a:off x="1205976" y="5171295"/>
                  <a:ext cx="3273315" cy="310482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t">
                  <a:spAutoFit/>
                </a:bodyPr>
                <a:lstStyle/>
                <a:p>
                  <a:pPr>
                    <a:lnSpc>
                      <a:spcPct val="130000"/>
                    </a:lnSpc>
                    <a:buNone/>
                  </a:pPr>
                  <a:r>
                    <a:rPr lang="en-US" altLang="zh-CN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0.2ml</a:t>
                  </a: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：</a:t>
                  </a:r>
                  <a:r>
                    <a:rPr lang="en-US" altLang="zh-CN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0.48mg</a:t>
                  </a: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（按</a:t>
                  </a:r>
                  <a:r>
                    <a:rPr lang="en-US" altLang="zh-CN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C21H25ClN2O3</a:t>
                  </a: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计）</a:t>
                  </a:r>
                  <a:endParaRPr lang="zh-CN" altLang="en-US" sz="12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endParaRPr>
                </a:p>
              </p:txBody>
            </p:sp>
          </p:grpSp>
          <p:sp>
            <p:nvSpPr>
              <p:cNvPr id="241" name="椭圆 240"/>
              <p:cNvSpPr/>
              <p:nvPr/>
            </p:nvSpPr>
            <p:spPr>
              <a:xfrm>
                <a:off x="8120454" y="1860722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516" name="图形 515"/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4950" y="1955826"/>
              <a:ext cx="172085" cy="147955"/>
            </a:xfrm>
            <a:prstGeom prst="rect">
              <a:avLst/>
            </a:prstGeom>
          </p:spPr>
        </p:pic>
      </p:grpSp>
      <p:grpSp>
        <p:nvGrpSpPr>
          <p:cNvPr id="527" name="组合 526"/>
          <p:cNvGrpSpPr/>
          <p:nvPr/>
        </p:nvGrpSpPr>
        <p:grpSpPr>
          <a:xfrm>
            <a:off x="4289291" y="1706697"/>
            <a:ext cx="3638818" cy="651266"/>
            <a:chOff x="4289291" y="1706697"/>
            <a:chExt cx="3638818" cy="651266"/>
          </a:xfrm>
        </p:grpSpPr>
        <p:grpSp>
          <p:nvGrpSpPr>
            <p:cNvPr id="519" name="组合 518"/>
            <p:cNvGrpSpPr/>
            <p:nvPr/>
          </p:nvGrpSpPr>
          <p:grpSpPr>
            <a:xfrm>
              <a:off x="4289291" y="1706697"/>
              <a:ext cx="3638818" cy="651266"/>
              <a:chOff x="8029676" y="1706697"/>
              <a:chExt cx="3638818" cy="651266"/>
            </a:xfrm>
          </p:grpSpPr>
          <p:sp>
            <p:nvSpPr>
              <p:cNvPr id="521" name="矩形: 圆角 520"/>
              <p:cNvSpPr/>
              <p:nvPr/>
            </p:nvSpPr>
            <p:spPr>
              <a:xfrm>
                <a:off x="8029676" y="1706697"/>
                <a:ext cx="3638818" cy="643331"/>
              </a:xfrm>
              <a:prstGeom prst="roundRect">
                <a:avLst>
                  <a:gd name="adj" fmla="val 3780"/>
                </a:avLst>
              </a:prstGeom>
              <a:solidFill>
                <a:srgbClr val="EFF7F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522" name="组合 521"/>
              <p:cNvGrpSpPr/>
              <p:nvPr/>
            </p:nvGrpSpPr>
            <p:grpSpPr>
              <a:xfrm>
                <a:off x="8483392" y="1761070"/>
                <a:ext cx="3185102" cy="596893"/>
                <a:chOff x="1141789" y="4928969"/>
                <a:chExt cx="3337502" cy="596831"/>
              </a:xfrm>
            </p:grpSpPr>
            <p:sp>
              <p:nvSpPr>
                <p:cNvPr id="524" name="文本框 523"/>
                <p:cNvSpPr txBox="1"/>
                <p:nvPr/>
              </p:nvSpPr>
              <p:spPr>
                <a:xfrm>
                  <a:off x="1141789" y="4928969"/>
                  <a:ext cx="1130100" cy="30148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ctr">
                  <a:spAutoFit/>
                </a:bodyPr>
                <a:lstStyle/>
                <a:p>
                  <a:pPr indent="0">
                    <a:lnSpc>
                      <a:spcPct val="100000"/>
                    </a:lnSpc>
                    <a:buNone/>
                  </a:pPr>
                  <a:r>
                    <a:rPr lang="en-US" altLang="zh-CN" sz="11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【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适应症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】</a:t>
                  </a:r>
                  <a:endPara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525" name="文本框 524"/>
                <p:cNvSpPr txBox="1"/>
                <p:nvPr/>
              </p:nvSpPr>
              <p:spPr>
                <a:xfrm>
                  <a:off x="1205976" y="5163311"/>
                  <a:ext cx="3273315" cy="362489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t">
                  <a:spAutoFit/>
                </a:bodyPr>
                <a:lstStyle/>
                <a:p>
                  <a:pPr>
                    <a:lnSpc>
                      <a:spcPct val="130000"/>
                    </a:lnSpc>
                    <a:buNone/>
                  </a:pP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适用于过敏性结膜炎相关的眼痒的治疗</a:t>
                  </a:r>
                  <a:endParaRPr lang="zh-CN" altLang="en-US" sz="12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endParaRPr>
                </a:p>
              </p:txBody>
            </p:sp>
          </p:grpSp>
          <p:sp>
            <p:nvSpPr>
              <p:cNvPr id="523" name="椭圆 522"/>
              <p:cNvSpPr/>
              <p:nvPr/>
            </p:nvSpPr>
            <p:spPr>
              <a:xfrm>
                <a:off x="8120454" y="1860722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526" name="图形 525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60611" y="1938681"/>
              <a:ext cx="179705" cy="165100"/>
            </a:xfrm>
            <a:prstGeom prst="rect">
              <a:avLst/>
            </a:prstGeom>
          </p:spPr>
        </p:pic>
      </p:grpSp>
      <p:grpSp>
        <p:nvGrpSpPr>
          <p:cNvPr id="542" name="组合 541"/>
          <p:cNvGrpSpPr/>
          <p:nvPr/>
        </p:nvGrpSpPr>
        <p:grpSpPr>
          <a:xfrm>
            <a:off x="4276609" y="2456081"/>
            <a:ext cx="3638818" cy="659204"/>
            <a:chOff x="4276609" y="2456081"/>
            <a:chExt cx="3638818" cy="659204"/>
          </a:xfrm>
        </p:grpSpPr>
        <p:grpSp>
          <p:nvGrpSpPr>
            <p:cNvPr id="529" name="组合 528"/>
            <p:cNvGrpSpPr/>
            <p:nvPr/>
          </p:nvGrpSpPr>
          <p:grpSpPr>
            <a:xfrm>
              <a:off x="4276609" y="2456081"/>
              <a:ext cx="3638818" cy="659204"/>
              <a:chOff x="8029676" y="1706697"/>
              <a:chExt cx="3638818" cy="659204"/>
            </a:xfrm>
          </p:grpSpPr>
          <p:sp>
            <p:nvSpPr>
              <p:cNvPr id="531" name="矩形: 圆角 530"/>
              <p:cNvSpPr/>
              <p:nvPr/>
            </p:nvSpPr>
            <p:spPr>
              <a:xfrm>
                <a:off x="8029676" y="1706697"/>
                <a:ext cx="3638818" cy="643331"/>
              </a:xfrm>
              <a:prstGeom prst="roundRect">
                <a:avLst>
                  <a:gd name="adj" fmla="val 3780"/>
                </a:avLst>
              </a:prstGeom>
              <a:solidFill>
                <a:srgbClr val="EFF7F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532" name="组合 531"/>
              <p:cNvGrpSpPr/>
              <p:nvPr/>
            </p:nvGrpSpPr>
            <p:grpSpPr>
              <a:xfrm>
                <a:off x="8485349" y="1766869"/>
                <a:ext cx="3183145" cy="599032"/>
                <a:chOff x="1143840" y="4934759"/>
                <a:chExt cx="3335451" cy="598968"/>
              </a:xfrm>
            </p:grpSpPr>
            <p:sp>
              <p:nvSpPr>
                <p:cNvPr id="534" name="文本框 533"/>
                <p:cNvSpPr txBox="1"/>
                <p:nvPr/>
              </p:nvSpPr>
              <p:spPr>
                <a:xfrm>
                  <a:off x="1143840" y="4934759"/>
                  <a:ext cx="2764668" cy="28635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ctr">
                  <a:spAutoFit/>
                </a:bodyPr>
                <a:lstStyle/>
                <a:p>
                  <a:pPr indent="0">
                    <a:lnSpc>
                      <a:spcPct val="100000"/>
                    </a:lnSpc>
                    <a:buNone/>
                  </a:pP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【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全球首个上市国家及上市时间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】</a:t>
                  </a:r>
                  <a:endPara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535" name="文本框 534"/>
                <p:cNvSpPr txBox="1"/>
                <p:nvPr/>
              </p:nvSpPr>
              <p:spPr>
                <a:xfrm>
                  <a:off x="1205976" y="5170348"/>
                  <a:ext cx="3273315" cy="363379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t">
                  <a:spAutoFit/>
                </a:bodyPr>
                <a:lstStyle/>
                <a:p>
                  <a:pPr>
                    <a:lnSpc>
                      <a:spcPct val="130000"/>
                    </a:lnSpc>
                    <a:buNone/>
                  </a:pP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美国，</a:t>
                  </a:r>
                  <a:r>
                    <a:rPr lang="en-US" altLang="zh-CN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2017</a:t>
                  </a: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年</a:t>
                  </a:r>
                  <a:r>
                    <a:rPr lang="en-US" altLang="zh-CN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5</a:t>
                  </a: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月</a:t>
                  </a:r>
                  <a:endParaRPr lang="zh-CN" altLang="en-US" sz="12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endParaRPr>
                </a:p>
              </p:txBody>
            </p:sp>
          </p:grpSp>
          <p:sp>
            <p:nvSpPr>
              <p:cNvPr id="533" name="椭圆 532"/>
              <p:cNvSpPr/>
              <p:nvPr/>
            </p:nvSpPr>
            <p:spPr>
              <a:xfrm>
                <a:off x="8120454" y="1860722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541" name="图形 539"/>
            <p:cNvSpPr/>
            <p:nvPr/>
          </p:nvSpPr>
          <p:spPr>
            <a:xfrm>
              <a:off x="4431421" y="2679798"/>
              <a:ext cx="199495" cy="199495"/>
            </a:xfrm>
            <a:custGeom>
              <a:avLst/>
              <a:gdLst>
                <a:gd name="csX0" fmla="*/ 150599 w 199495"/>
                <a:gd name="csY0" fmla="*/ 93882 h 199495"/>
                <a:gd name="csX1" fmla="*/ 150599 w 199495"/>
                <a:gd name="csY1" fmla="*/ 199495 h 199495"/>
                <a:gd name="csX2" fmla="*/ 183845 w 199495"/>
                <a:gd name="csY2" fmla="*/ 199495 h 199495"/>
                <a:gd name="csX3" fmla="*/ 183845 w 199495"/>
                <a:gd name="csY3" fmla="*/ 70412 h 199495"/>
                <a:gd name="csX4" fmla="*/ 179935 w 199495"/>
                <a:gd name="csY4" fmla="*/ 66492 h 199495"/>
                <a:gd name="csX5" fmla="*/ 150599 w 199495"/>
                <a:gd name="csY5" fmla="*/ 93872 h 199495"/>
                <a:gd name="csX6" fmla="*/ 150599 w 199495"/>
                <a:gd name="csY6" fmla="*/ 93882 h 199495"/>
                <a:gd name="csX7" fmla="*/ 99748 w 199495"/>
                <a:gd name="csY7" fmla="*/ 125183 h 199495"/>
                <a:gd name="csX8" fmla="*/ 99748 w 199495"/>
                <a:gd name="csY8" fmla="*/ 199495 h 199495"/>
                <a:gd name="csX9" fmla="*/ 133003 w 199495"/>
                <a:gd name="csY9" fmla="*/ 199495 h 199495"/>
                <a:gd name="csX10" fmla="*/ 133003 w 199495"/>
                <a:gd name="csY10" fmla="*/ 107578 h 199495"/>
                <a:gd name="csX11" fmla="*/ 105613 w 199495"/>
                <a:gd name="csY11" fmla="*/ 131048 h 199495"/>
                <a:gd name="csX12" fmla="*/ 99748 w 199495"/>
                <a:gd name="csY12" fmla="*/ 125183 h 199495"/>
                <a:gd name="csX13" fmla="*/ 48896 w 199495"/>
                <a:gd name="csY13" fmla="*/ 107568 h 199495"/>
                <a:gd name="csX14" fmla="*/ 48896 w 199495"/>
                <a:gd name="csY14" fmla="*/ 199495 h 199495"/>
                <a:gd name="csX15" fmla="*/ 82142 w 199495"/>
                <a:gd name="csY15" fmla="*/ 199495 h 199495"/>
                <a:gd name="csX16" fmla="*/ 82142 w 199495"/>
                <a:gd name="csY16" fmla="*/ 111478 h 199495"/>
                <a:gd name="csX17" fmla="*/ 64537 w 199495"/>
                <a:gd name="csY17" fmla="*/ 95837 h 199495"/>
                <a:gd name="csX18" fmla="*/ 48896 w 199495"/>
                <a:gd name="csY18" fmla="*/ 107578 h 199495"/>
                <a:gd name="csX19" fmla="*/ 48896 w 199495"/>
                <a:gd name="csY19" fmla="*/ 107568 h 199495"/>
                <a:gd name="csX20" fmla="*/ 0 w 199495"/>
                <a:gd name="csY20" fmla="*/ 199495 h 199495"/>
                <a:gd name="csX21" fmla="*/ 0 w 199495"/>
                <a:gd name="csY21" fmla="*/ 152554 h 199495"/>
                <a:gd name="csX22" fmla="*/ 33256 w 199495"/>
                <a:gd name="csY22" fmla="*/ 123208 h 199495"/>
                <a:gd name="csX23" fmla="*/ 33256 w 199495"/>
                <a:gd name="csY23" fmla="*/ 199495 h 199495"/>
                <a:gd name="csX24" fmla="*/ 0 w 199495"/>
                <a:gd name="csY24" fmla="*/ 199495 h 199495"/>
                <a:gd name="csX25" fmla="*/ 142779 w 199495"/>
                <a:gd name="csY25" fmla="*/ 0 h 199495"/>
                <a:gd name="csX26" fmla="*/ 199495 w 199495"/>
                <a:gd name="csY26" fmla="*/ 0 h 199495"/>
                <a:gd name="csX27" fmla="*/ 199495 w 199495"/>
                <a:gd name="csY27" fmla="*/ 58671 h 199495"/>
                <a:gd name="csX28" fmla="*/ 179935 w 199495"/>
                <a:gd name="csY28" fmla="*/ 37156 h 199495"/>
                <a:gd name="csX29" fmla="*/ 105623 w 199495"/>
                <a:gd name="csY29" fmla="*/ 101703 h 199495"/>
                <a:gd name="csX30" fmla="*/ 64537 w 199495"/>
                <a:gd name="csY30" fmla="*/ 66492 h 199495"/>
                <a:gd name="csX31" fmla="*/ 0 w 199495"/>
                <a:gd name="csY31" fmla="*/ 121253 h 199495"/>
                <a:gd name="csX32" fmla="*/ 0 w 199495"/>
                <a:gd name="csY32" fmla="*/ 97792 h 199495"/>
                <a:gd name="csX33" fmla="*/ 64537 w 199495"/>
                <a:gd name="csY33" fmla="*/ 43031 h 199495"/>
                <a:gd name="csX34" fmla="*/ 105623 w 199495"/>
                <a:gd name="csY34" fmla="*/ 78242 h 199495"/>
                <a:gd name="csX35" fmla="*/ 166239 w 199495"/>
                <a:gd name="csY35" fmla="*/ 25426 h 199495"/>
                <a:gd name="csX36" fmla="*/ 142779 w 199495"/>
                <a:gd name="csY36" fmla="*/ 0 h 19949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</a:cxnLst>
              <a:rect l="l" t="t" r="r" b="b"/>
              <a:pathLst>
                <a:path w="199495" h="199495">
                  <a:moveTo>
                    <a:pt x="150599" y="93882"/>
                  </a:moveTo>
                  <a:lnTo>
                    <a:pt x="150599" y="199495"/>
                  </a:lnTo>
                  <a:lnTo>
                    <a:pt x="183845" y="199495"/>
                  </a:lnTo>
                  <a:lnTo>
                    <a:pt x="183845" y="70412"/>
                  </a:lnTo>
                  <a:lnTo>
                    <a:pt x="179935" y="66492"/>
                  </a:lnTo>
                  <a:lnTo>
                    <a:pt x="150599" y="93872"/>
                  </a:lnTo>
                  <a:lnTo>
                    <a:pt x="150599" y="93882"/>
                  </a:lnTo>
                  <a:close/>
                  <a:moveTo>
                    <a:pt x="99748" y="125183"/>
                  </a:moveTo>
                  <a:lnTo>
                    <a:pt x="99748" y="199495"/>
                  </a:lnTo>
                  <a:lnTo>
                    <a:pt x="133003" y="199495"/>
                  </a:lnTo>
                  <a:lnTo>
                    <a:pt x="133003" y="107578"/>
                  </a:lnTo>
                  <a:lnTo>
                    <a:pt x="105613" y="131048"/>
                  </a:lnTo>
                  <a:lnTo>
                    <a:pt x="99748" y="125183"/>
                  </a:lnTo>
                  <a:close/>
                  <a:moveTo>
                    <a:pt x="48896" y="107568"/>
                  </a:moveTo>
                  <a:lnTo>
                    <a:pt x="48896" y="199495"/>
                  </a:lnTo>
                  <a:lnTo>
                    <a:pt x="82142" y="199495"/>
                  </a:lnTo>
                  <a:lnTo>
                    <a:pt x="82142" y="111478"/>
                  </a:lnTo>
                  <a:lnTo>
                    <a:pt x="64537" y="95837"/>
                  </a:lnTo>
                  <a:lnTo>
                    <a:pt x="48896" y="107578"/>
                  </a:lnTo>
                  <a:lnTo>
                    <a:pt x="48896" y="107568"/>
                  </a:lnTo>
                  <a:close/>
                  <a:moveTo>
                    <a:pt x="0" y="199495"/>
                  </a:moveTo>
                  <a:lnTo>
                    <a:pt x="0" y="152554"/>
                  </a:lnTo>
                  <a:lnTo>
                    <a:pt x="33256" y="123208"/>
                  </a:lnTo>
                  <a:lnTo>
                    <a:pt x="33256" y="199495"/>
                  </a:lnTo>
                  <a:lnTo>
                    <a:pt x="0" y="199495"/>
                  </a:lnTo>
                  <a:close/>
                  <a:moveTo>
                    <a:pt x="142779" y="0"/>
                  </a:moveTo>
                  <a:lnTo>
                    <a:pt x="199495" y="0"/>
                  </a:lnTo>
                  <a:lnTo>
                    <a:pt x="199495" y="58671"/>
                  </a:lnTo>
                  <a:lnTo>
                    <a:pt x="179935" y="37156"/>
                  </a:lnTo>
                  <a:lnTo>
                    <a:pt x="105623" y="101703"/>
                  </a:lnTo>
                  <a:lnTo>
                    <a:pt x="64537" y="66492"/>
                  </a:lnTo>
                  <a:lnTo>
                    <a:pt x="0" y="121253"/>
                  </a:lnTo>
                  <a:lnTo>
                    <a:pt x="0" y="97792"/>
                  </a:lnTo>
                  <a:lnTo>
                    <a:pt x="64537" y="43031"/>
                  </a:lnTo>
                  <a:lnTo>
                    <a:pt x="105623" y="78242"/>
                  </a:lnTo>
                  <a:lnTo>
                    <a:pt x="166239" y="25426"/>
                  </a:lnTo>
                  <a:lnTo>
                    <a:pt x="142779" y="0"/>
                  </a:lnTo>
                  <a:close/>
                </a:path>
              </a:pathLst>
            </a:custGeom>
            <a:solidFill>
              <a:schemeClr val="bg1"/>
            </a:solidFill>
            <a:ln w="186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52" name="组合 551"/>
          <p:cNvGrpSpPr/>
          <p:nvPr/>
        </p:nvGrpSpPr>
        <p:grpSpPr>
          <a:xfrm>
            <a:off x="8029395" y="2456081"/>
            <a:ext cx="3638818" cy="658567"/>
            <a:chOff x="8029395" y="2456081"/>
            <a:chExt cx="3638818" cy="658567"/>
          </a:xfrm>
        </p:grpSpPr>
        <p:grpSp>
          <p:nvGrpSpPr>
            <p:cNvPr id="544" name="组合 543"/>
            <p:cNvGrpSpPr/>
            <p:nvPr/>
          </p:nvGrpSpPr>
          <p:grpSpPr>
            <a:xfrm>
              <a:off x="8029395" y="2456081"/>
              <a:ext cx="3638818" cy="658567"/>
              <a:chOff x="8029676" y="1706697"/>
              <a:chExt cx="3638818" cy="658567"/>
            </a:xfrm>
          </p:grpSpPr>
          <p:sp>
            <p:nvSpPr>
              <p:cNvPr id="546" name="矩形: 圆角 545"/>
              <p:cNvSpPr/>
              <p:nvPr/>
            </p:nvSpPr>
            <p:spPr>
              <a:xfrm>
                <a:off x="8029676" y="1706697"/>
                <a:ext cx="3638818" cy="643331"/>
              </a:xfrm>
              <a:prstGeom prst="roundRect">
                <a:avLst>
                  <a:gd name="adj" fmla="val 3780"/>
                </a:avLst>
              </a:prstGeom>
              <a:solidFill>
                <a:srgbClr val="EFF7F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547" name="组合 546"/>
              <p:cNvGrpSpPr/>
              <p:nvPr/>
            </p:nvGrpSpPr>
            <p:grpSpPr>
              <a:xfrm>
                <a:off x="8455735" y="1770836"/>
                <a:ext cx="3212758" cy="594428"/>
                <a:chOff x="1112808" y="4938733"/>
                <a:chExt cx="3366481" cy="594366"/>
              </a:xfrm>
            </p:grpSpPr>
            <p:sp>
              <p:nvSpPr>
                <p:cNvPr id="549" name="文本框 548"/>
                <p:cNvSpPr txBox="1"/>
                <p:nvPr/>
              </p:nvSpPr>
              <p:spPr>
                <a:xfrm>
                  <a:off x="1112808" y="4938733"/>
                  <a:ext cx="2483269" cy="301494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ctr">
                  <a:spAutoFit/>
                </a:bodyPr>
                <a:lstStyle/>
                <a:p>
                  <a:pPr indent="0">
                    <a:lnSpc>
                      <a:spcPct val="100000"/>
                    </a:lnSpc>
                    <a:buNone/>
                  </a:pP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【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独家药物，非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OTC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药品</a:t>
                  </a:r>
                  <a:r>
                    <a:rPr lang="en-US" altLang="zh-CN" sz="1400" b="1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】</a:t>
                  </a:r>
                  <a:endParaRPr lang="en-US" altLang="zh-CN" sz="14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550" name="文本框 549"/>
                <p:cNvSpPr txBox="1"/>
                <p:nvPr/>
              </p:nvSpPr>
              <p:spPr>
                <a:xfrm>
                  <a:off x="1205974" y="5170611"/>
                  <a:ext cx="3273315" cy="362488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anchor="t">
                  <a:spAutoFit/>
                </a:bodyPr>
                <a:lstStyle/>
                <a:p>
                  <a:pPr>
                    <a:lnSpc>
                      <a:spcPct val="130000"/>
                    </a:lnSpc>
                    <a:buNone/>
                  </a:pPr>
                  <a:r>
                    <a:rPr lang="zh-CN" altLang="en-US" sz="1200" dirty="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path path="circle">
                          <a:fillToRect l="50000" t="50000" r="50000" b="50000"/>
                        </a:path>
                      </a:gradFill>
                      <a:latin typeface="+mn-ea"/>
                    </a:rPr>
                    <a:t>独立自主知识产权</a:t>
                  </a:r>
                  <a:endParaRPr lang="zh-CN" altLang="en-US" sz="12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path path="circle">
                        <a:fillToRect l="50000" t="50000" r="50000" b="50000"/>
                      </a:path>
                    </a:gradFill>
                    <a:latin typeface="+mn-ea"/>
                  </a:endParaRPr>
                </a:p>
              </p:txBody>
            </p:sp>
          </p:grpSp>
          <p:sp>
            <p:nvSpPr>
              <p:cNvPr id="548" name="椭圆 547"/>
              <p:cNvSpPr/>
              <p:nvPr/>
            </p:nvSpPr>
            <p:spPr>
              <a:xfrm>
                <a:off x="8120454" y="1860722"/>
                <a:ext cx="335280" cy="335280"/>
              </a:xfrm>
              <a:prstGeom prst="ellipse">
                <a:avLst/>
              </a:prstGeom>
              <a:solidFill>
                <a:srgbClr val="0971CA"/>
              </a:solidFill>
              <a:ln w="50800">
                <a:solidFill>
                  <a:srgbClr val="0971CA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551" name="图形 550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05443" y="2680919"/>
              <a:ext cx="187960" cy="174625"/>
            </a:xfrm>
            <a:prstGeom prst="rect">
              <a:avLst/>
            </a:prstGeom>
          </p:spPr>
        </p:pic>
      </p:grpSp>
      <p:sp>
        <p:nvSpPr>
          <p:cNvPr id="558" name="任意多边形: 形状 557"/>
          <p:cNvSpPr/>
          <p:nvPr/>
        </p:nvSpPr>
        <p:spPr>
          <a:xfrm>
            <a:off x="374650" y="4753525"/>
            <a:ext cx="11442700" cy="1536700"/>
          </a:xfrm>
          <a:custGeom>
            <a:avLst/>
            <a:gdLst>
              <a:gd name="csX0" fmla="*/ 0 w 11442700"/>
              <a:gd name="csY0" fmla="*/ 0 h 1694182"/>
              <a:gd name="csX1" fmla="*/ 10908214 w 11442700"/>
              <a:gd name="csY1" fmla="*/ 0 h 1694182"/>
              <a:gd name="csX2" fmla="*/ 11192108 w 11442700"/>
              <a:gd name="csY2" fmla="*/ 188628 h 1694182"/>
              <a:gd name="csX3" fmla="*/ 11418668 w 11442700"/>
              <a:gd name="csY3" fmla="*/ 727661 h 1694182"/>
              <a:gd name="csX4" fmla="*/ 11442700 w 11442700"/>
              <a:gd name="csY4" fmla="*/ 847089 h 1694182"/>
              <a:gd name="csX5" fmla="*/ 11442700 w 11442700"/>
              <a:gd name="csY5" fmla="*/ 847093 h 1694182"/>
              <a:gd name="csX6" fmla="*/ 11418668 w 11442700"/>
              <a:gd name="csY6" fmla="*/ 966520 h 1694182"/>
              <a:gd name="csX7" fmla="*/ 11192108 w 11442700"/>
              <a:gd name="csY7" fmla="*/ 1505554 h 1694182"/>
              <a:gd name="csX8" fmla="*/ 10908214 w 11442700"/>
              <a:gd name="csY8" fmla="*/ 1694182 h 1694182"/>
              <a:gd name="csX9" fmla="*/ 0 w 11442700"/>
              <a:gd name="csY9" fmla="*/ 1694182 h 16941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11442700" h="1694182">
                <a:moveTo>
                  <a:pt x="0" y="0"/>
                </a:moveTo>
                <a:lnTo>
                  <a:pt x="10908214" y="0"/>
                </a:lnTo>
                <a:cubicBezTo>
                  <a:pt x="11032233" y="0"/>
                  <a:pt x="11144129" y="74308"/>
                  <a:pt x="11192108" y="188628"/>
                </a:cubicBezTo>
                <a:lnTo>
                  <a:pt x="11418668" y="727661"/>
                </a:lnTo>
                <a:lnTo>
                  <a:pt x="11442700" y="847089"/>
                </a:lnTo>
                <a:lnTo>
                  <a:pt x="11442700" y="847093"/>
                </a:lnTo>
                <a:lnTo>
                  <a:pt x="11418668" y="966520"/>
                </a:lnTo>
                <a:lnTo>
                  <a:pt x="11192108" y="1505554"/>
                </a:lnTo>
                <a:cubicBezTo>
                  <a:pt x="11144129" y="1619873"/>
                  <a:pt x="11032061" y="1694182"/>
                  <a:pt x="10908214" y="1694182"/>
                </a:cubicBezTo>
                <a:lnTo>
                  <a:pt x="0" y="1694182"/>
                </a:lnTo>
                <a:close/>
              </a:path>
            </a:pathLst>
          </a:custGeom>
          <a:solidFill>
            <a:srgbClr val="EFF7FE"/>
          </a:solidFill>
          <a:ln w="12725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561" name="文本框 560"/>
          <p:cNvSpPr txBox="1"/>
          <p:nvPr/>
        </p:nvSpPr>
        <p:spPr>
          <a:xfrm>
            <a:off x="2040215" y="4753525"/>
            <a:ext cx="6732007" cy="15367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【临床价值】</a:t>
            </a:r>
            <a:r>
              <a:rPr lang="en-US" altLang="zh-CN" sz="15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rPr>
              <a:t>填补</a:t>
            </a:r>
            <a:r>
              <a:rPr lang="zh-CN" altLang="en-US" sz="15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rPr>
              <a:t>中国</a:t>
            </a:r>
            <a:r>
              <a:rPr lang="en-US" altLang="zh-CN" sz="15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rPr>
              <a:t>幼儿过敏性结膜炎缺乏有效药物</a:t>
            </a:r>
            <a:r>
              <a:rPr lang="zh-CN" altLang="en-US" sz="15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rPr>
              <a:t>的</a:t>
            </a:r>
            <a:r>
              <a:rPr lang="en-US" altLang="zh-CN" sz="1500" b="1">
                <a:gradFill>
                  <a:gsLst>
                    <a:gs pos="0">
                      <a:srgbClr val="E1007F"/>
                    </a:gs>
                    <a:gs pos="100000">
                      <a:srgbClr val="E1007F"/>
                    </a:gs>
                  </a:gsLst>
                  <a:path path="circle">
                    <a:fillToRect l="50000" t="50000" r="50000" b="50000"/>
                  </a:path>
                </a:gradFill>
                <a:latin typeface="+mn-ea"/>
                <a:sym typeface="+mn-ea"/>
              </a:rPr>
              <a:t>空白</a:t>
            </a:r>
            <a:endParaRPr lang="zh-CN" altLang="en-US" sz="1500" b="1">
              <a:gradFill>
                <a:gsLst>
                  <a:gs pos="0">
                    <a:srgbClr val="E1007F"/>
                  </a:gs>
                  <a:gs pos="100000">
                    <a:srgbClr val="E1007F"/>
                  </a:gs>
                </a:gsLst>
                <a:path path="circle">
                  <a:fillToRect l="50000" t="50000" r="50000" b="50000"/>
                </a:path>
              </a:gra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inden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【对比优势】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唯一</a:t>
            </a:r>
            <a:r>
              <a:rPr lang="en-US" altLang="zh-CN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抗过敏</a:t>
            </a:r>
            <a:r>
              <a:rPr lang="en-US" altLang="zh-CN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+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抗炎</a:t>
            </a:r>
            <a:r>
              <a:rPr lang="en-US" altLang="zh-CN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+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缓解干眼”三效合一滴眼液，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目录内依美斯汀</a:t>
            </a:r>
            <a:r>
              <a:rPr lang="zh-CN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、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奥洛他定相比，安全性更高、适用人群更广、共病</a:t>
            </a: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场景不可替代</a:t>
            </a:r>
            <a:endParaRPr lang="zh-CN" altLang="en-US" sz="1500" b="1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path path="circle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inden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5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【经济价值】</a:t>
            </a:r>
            <a:r>
              <a:rPr lang="zh-CN" altLang="en-US" sz="15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减少人工泪液联用，降低干眼加重就诊率，治疗成本更低</a:t>
            </a:r>
            <a:endParaRPr lang="zh-CN" altLang="en-US" sz="15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path path="circle">
                  <a:fillToRect l="50000" t="50000" r="50000" b="50000"/>
                </a:path>
              </a:gra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65" name="任意多边形: 形状 564"/>
          <p:cNvSpPr/>
          <p:nvPr/>
        </p:nvSpPr>
        <p:spPr>
          <a:xfrm>
            <a:off x="8490134" y="4674784"/>
            <a:ext cx="3327216" cy="1694182"/>
          </a:xfrm>
          <a:custGeom>
            <a:avLst/>
            <a:gdLst>
              <a:gd name="csX0" fmla="*/ 0 w 3327216"/>
              <a:gd name="csY0" fmla="*/ 0 h 1694182"/>
              <a:gd name="csX1" fmla="*/ 2792730 w 3327216"/>
              <a:gd name="csY1" fmla="*/ 0 h 1694182"/>
              <a:gd name="csX2" fmla="*/ 3076624 w 3327216"/>
              <a:gd name="csY2" fmla="*/ 188628 h 1694182"/>
              <a:gd name="csX3" fmla="*/ 3303184 w 3327216"/>
              <a:gd name="csY3" fmla="*/ 727661 h 1694182"/>
              <a:gd name="csX4" fmla="*/ 3327216 w 3327216"/>
              <a:gd name="csY4" fmla="*/ 847089 h 1694182"/>
              <a:gd name="csX5" fmla="*/ 3327216 w 3327216"/>
              <a:gd name="csY5" fmla="*/ 847093 h 1694182"/>
              <a:gd name="csX6" fmla="*/ 3303184 w 3327216"/>
              <a:gd name="csY6" fmla="*/ 966520 h 1694182"/>
              <a:gd name="csX7" fmla="*/ 3076624 w 3327216"/>
              <a:gd name="csY7" fmla="*/ 1505554 h 1694182"/>
              <a:gd name="csX8" fmla="*/ 2792730 w 3327216"/>
              <a:gd name="csY8" fmla="*/ 1694182 h 1694182"/>
              <a:gd name="csX9" fmla="*/ 0 w 3327216"/>
              <a:gd name="csY9" fmla="*/ 1694182 h 1694182"/>
              <a:gd name="csX10" fmla="*/ 283894 w 3327216"/>
              <a:gd name="csY10" fmla="*/ 1505554 h 1694182"/>
              <a:gd name="csX11" fmla="*/ 510454 w 3327216"/>
              <a:gd name="csY11" fmla="*/ 966520 h 1694182"/>
              <a:gd name="csX12" fmla="*/ 534486 w 3327216"/>
              <a:gd name="csY12" fmla="*/ 847093 h 1694182"/>
              <a:gd name="csX13" fmla="*/ 534486 w 3327216"/>
              <a:gd name="csY13" fmla="*/ 847089 h 1694182"/>
              <a:gd name="csX14" fmla="*/ 510454 w 3327216"/>
              <a:gd name="csY14" fmla="*/ 727661 h 1694182"/>
              <a:gd name="csX15" fmla="*/ 283894 w 3327216"/>
              <a:gd name="csY15" fmla="*/ 188628 h 1694182"/>
              <a:gd name="csX16" fmla="*/ 0 w 3327216"/>
              <a:gd name="csY16" fmla="*/ 0 h 16941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3327216" h="1694182">
                <a:moveTo>
                  <a:pt x="0" y="0"/>
                </a:moveTo>
                <a:lnTo>
                  <a:pt x="2792730" y="0"/>
                </a:lnTo>
                <a:cubicBezTo>
                  <a:pt x="2916749" y="0"/>
                  <a:pt x="3028645" y="74308"/>
                  <a:pt x="3076624" y="188628"/>
                </a:cubicBezTo>
                <a:lnTo>
                  <a:pt x="3303184" y="727661"/>
                </a:lnTo>
                <a:lnTo>
                  <a:pt x="3327216" y="847089"/>
                </a:lnTo>
                <a:lnTo>
                  <a:pt x="3327216" y="847093"/>
                </a:lnTo>
                <a:lnTo>
                  <a:pt x="3303184" y="966520"/>
                </a:lnTo>
                <a:lnTo>
                  <a:pt x="3076624" y="1505554"/>
                </a:lnTo>
                <a:cubicBezTo>
                  <a:pt x="3028645" y="1619873"/>
                  <a:pt x="2916577" y="1694182"/>
                  <a:pt x="2792730" y="1694182"/>
                </a:cubicBezTo>
                <a:lnTo>
                  <a:pt x="0" y="1694182"/>
                </a:lnTo>
                <a:cubicBezTo>
                  <a:pt x="123847" y="1694182"/>
                  <a:pt x="235915" y="1619873"/>
                  <a:pt x="283894" y="1505554"/>
                </a:cubicBezTo>
                <a:lnTo>
                  <a:pt x="510454" y="966520"/>
                </a:lnTo>
                <a:lnTo>
                  <a:pt x="534486" y="847093"/>
                </a:lnTo>
                <a:lnTo>
                  <a:pt x="534486" y="847089"/>
                </a:lnTo>
                <a:lnTo>
                  <a:pt x="510454" y="727661"/>
                </a:lnTo>
                <a:lnTo>
                  <a:pt x="283894" y="188628"/>
                </a:lnTo>
                <a:cubicBezTo>
                  <a:pt x="235915" y="74308"/>
                  <a:pt x="124019" y="0"/>
                  <a:pt x="0" y="0"/>
                </a:cubicBezTo>
                <a:close/>
              </a:path>
            </a:pathLst>
          </a:custGeom>
        </p:spPr>
        <p:style>
          <a:lnRef idx="0">
            <a:srgbClr val="FFFFFF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endParaRPr lang="zh-CN" altLang="en-US"/>
          </a:p>
        </p:txBody>
      </p:sp>
      <p:grpSp>
        <p:nvGrpSpPr>
          <p:cNvPr id="574" name="组合 573"/>
          <p:cNvGrpSpPr/>
          <p:nvPr/>
        </p:nvGrpSpPr>
        <p:grpSpPr>
          <a:xfrm>
            <a:off x="9098226" y="4753501"/>
            <a:ext cx="2569987" cy="1564668"/>
            <a:chOff x="9098226" y="4880145"/>
            <a:chExt cx="2827101" cy="1564668"/>
          </a:xfrm>
        </p:grpSpPr>
        <p:sp>
          <p:nvSpPr>
            <p:cNvPr id="569" name="文本框 568"/>
            <p:cNvSpPr txBox="1"/>
            <p:nvPr/>
          </p:nvSpPr>
          <p:spPr>
            <a:xfrm>
              <a:off x="9098226" y="4880145"/>
              <a:ext cx="2719124" cy="386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None/>
              </a:pPr>
              <a:r>
                <a:rPr lang="zh-CN" altLang="en-US" sz="1600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  <a:ea typeface="+mn-ea"/>
                </a:rPr>
                <a:t>【建议参照药】</a:t>
              </a:r>
              <a:endParaRPr lang="zh-CN" altLang="en-US" sz="160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  <a:ea typeface="+mn-ea"/>
              </a:endParaRPr>
            </a:p>
          </p:txBody>
        </p:sp>
        <p:sp>
          <p:nvSpPr>
            <p:cNvPr id="571" name="文本框 570"/>
            <p:cNvSpPr txBox="1"/>
            <p:nvPr/>
          </p:nvSpPr>
          <p:spPr>
            <a:xfrm>
              <a:off x="9206203" y="5190778"/>
              <a:ext cx="2719124" cy="386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None/>
              </a:pPr>
              <a:r>
                <a:rPr lang="zh-CN" altLang="en-US" sz="1600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  <a:ea typeface="+mn-ea"/>
                </a:rPr>
                <a:t>富马酸依美斯汀滴眼液</a:t>
              </a:r>
              <a:endParaRPr lang="zh-CN" altLang="en-US" sz="16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  <a:ea typeface="+mn-ea"/>
              </a:endParaRPr>
            </a:p>
          </p:txBody>
        </p:sp>
        <p:sp>
          <p:nvSpPr>
            <p:cNvPr id="572" name="文本框 571"/>
            <p:cNvSpPr txBox="1"/>
            <p:nvPr/>
          </p:nvSpPr>
          <p:spPr>
            <a:xfrm>
              <a:off x="9098226" y="5526485"/>
              <a:ext cx="2719124" cy="386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None/>
              </a:pPr>
              <a:r>
                <a:rPr lang="en-US" altLang="zh-CN" sz="1600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  <a:ea typeface="+mn-ea"/>
                </a:rPr>
                <a:t>【</a:t>
              </a:r>
              <a:r>
                <a:rPr lang="zh-CN" altLang="en-US" sz="1600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  <a:ea typeface="+mn-ea"/>
                </a:rPr>
                <a:t>建议评级</a:t>
              </a:r>
              <a:r>
                <a:rPr lang="en-US" altLang="zh-CN" sz="1600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  <a:ea typeface="+mn-ea"/>
                </a:rPr>
                <a:t>】</a:t>
              </a:r>
              <a:endParaRPr lang="zh-CN" altLang="en-US" sz="160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  <a:ea typeface="+mn-ea"/>
              </a:endParaRPr>
            </a:p>
          </p:txBody>
        </p:sp>
        <p:sp>
          <p:nvSpPr>
            <p:cNvPr id="573" name="文本框 572"/>
            <p:cNvSpPr txBox="1"/>
            <p:nvPr/>
          </p:nvSpPr>
          <p:spPr>
            <a:xfrm>
              <a:off x="9206203" y="5837118"/>
              <a:ext cx="2719124" cy="6076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None/>
              </a:pPr>
              <a:r>
                <a:rPr lang="zh-CN" altLang="en-US" sz="2800" b="1">
                  <a:solidFill>
                    <a:srgbClr val="E1007F"/>
                  </a:solidFill>
                  <a:latin typeface="华文行楷" panose="02010800040101010101" charset="-122"/>
                  <a:ea typeface="华文行楷" panose="02010800040101010101" charset="-122"/>
                  <a:cs typeface="华文行楷" panose="02010800040101010101" charset="-122"/>
                </a:rPr>
                <a:t>改</a:t>
              </a:r>
              <a:r>
                <a:rPr lang="en-US" altLang="zh-CN" sz="2800" b="1">
                  <a:solidFill>
                    <a:srgbClr val="E1007F"/>
                  </a:solidFill>
                  <a:latin typeface="华文行楷" panose="02010800040101010101" charset="-122"/>
                  <a:ea typeface="华文行楷" panose="02010800040101010101" charset="-122"/>
                  <a:cs typeface="华文行楷" panose="02010800040101010101" charset="-122"/>
                </a:rPr>
                <a:t>  </a:t>
              </a:r>
              <a:r>
                <a:rPr lang="zh-CN" altLang="en-US" sz="2800" b="1">
                  <a:solidFill>
                    <a:srgbClr val="E1007F"/>
                  </a:solidFill>
                  <a:latin typeface="华文行楷" panose="02010800040101010101" charset="-122"/>
                  <a:ea typeface="华文行楷" panose="02010800040101010101" charset="-122"/>
                  <a:cs typeface="华文行楷" panose="02010800040101010101" charset="-122"/>
                </a:rPr>
                <a:t>进</a:t>
              </a:r>
              <a:endParaRPr lang="zh-CN" altLang="en-US" sz="2800" b="1">
                <a:solidFill>
                  <a:srgbClr val="E1007F"/>
                </a:solidFill>
                <a:latin typeface="华文行楷" panose="02010800040101010101" charset="-122"/>
                <a:ea typeface="华文行楷" panose="02010800040101010101" charset="-122"/>
                <a:cs typeface="华文行楷" panose="02010800040101010101" charset="-122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16" name="任意多边形: 形状 15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基本信息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grpSp>
        <p:nvGrpSpPr>
          <p:cNvPr id="593" name="组合 592"/>
          <p:cNvGrpSpPr/>
          <p:nvPr/>
        </p:nvGrpSpPr>
        <p:grpSpPr>
          <a:xfrm>
            <a:off x="476249" y="3401711"/>
            <a:ext cx="5002530" cy="1142365"/>
            <a:chOff x="374649" y="3394334"/>
            <a:chExt cx="5002530" cy="1142365"/>
          </a:xfrm>
        </p:grpSpPr>
        <p:grpSp>
          <p:nvGrpSpPr>
            <p:cNvPr id="591" name="组合 590"/>
            <p:cNvGrpSpPr/>
            <p:nvPr/>
          </p:nvGrpSpPr>
          <p:grpSpPr>
            <a:xfrm>
              <a:off x="374649" y="3394334"/>
              <a:ext cx="1733129" cy="405941"/>
              <a:chOff x="374649" y="3320858"/>
              <a:chExt cx="2004314" cy="469459"/>
            </a:xfrm>
          </p:grpSpPr>
          <p:grpSp>
            <p:nvGrpSpPr>
              <p:cNvPr id="590" name="组合 589"/>
              <p:cNvGrpSpPr/>
              <p:nvPr/>
            </p:nvGrpSpPr>
            <p:grpSpPr>
              <a:xfrm>
                <a:off x="374649" y="3320858"/>
                <a:ext cx="2004314" cy="469459"/>
                <a:chOff x="374649" y="3320858"/>
                <a:chExt cx="2004314" cy="469459"/>
              </a:xfrm>
            </p:grpSpPr>
            <p:pic>
              <p:nvPicPr>
                <p:cNvPr id="589" name="图形 588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 l="90802"/>
                <a:stretch>
                  <a:fillRect/>
                </a:stretch>
              </p:blipFill>
              <p:spPr>
                <a:xfrm>
                  <a:off x="1975266" y="3320986"/>
                  <a:ext cx="403697" cy="469331"/>
                </a:xfrm>
                <a:custGeom>
                  <a:avLst/>
                  <a:gdLst>
                    <a:gd name="csX0" fmla="*/ 0 w 403697"/>
                    <a:gd name="csY0" fmla="*/ 0 h 469331"/>
                    <a:gd name="csX1" fmla="*/ 403697 w 403697"/>
                    <a:gd name="csY1" fmla="*/ 0 h 469331"/>
                    <a:gd name="csX2" fmla="*/ 403697 w 403697"/>
                    <a:gd name="csY2" fmla="*/ 469331 h 469331"/>
                    <a:gd name="csX3" fmla="*/ 0 w 403697"/>
                    <a:gd name="csY3" fmla="*/ 469331 h 46933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</a:cxnLst>
                  <a:rect l="l" t="t" r="r" b="b"/>
                  <a:pathLst>
                    <a:path w="403697" h="469331">
                      <a:moveTo>
                        <a:pt x="0" y="0"/>
                      </a:moveTo>
                      <a:lnTo>
                        <a:pt x="403697" y="0"/>
                      </a:lnTo>
                      <a:lnTo>
                        <a:pt x="403697" y="469331"/>
                      </a:lnTo>
                      <a:lnTo>
                        <a:pt x="0" y="469331"/>
                      </a:lnTo>
                      <a:close/>
                    </a:path>
                  </a:pathLst>
                </a:custGeom>
              </p:spPr>
            </p:pic>
            <p:sp>
              <p:nvSpPr>
                <p:cNvPr id="587" name="任意多边形: 形状 586"/>
                <p:cNvSpPr/>
                <p:nvPr/>
              </p:nvSpPr>
              <p:spPr>
                <a:xfrm>
                  <a:off x="374649" y="3320858"/>
                  <a:ext cx="1932922" cy="468824"/>
                </a:xfrm>
                <a:custGeom>
                  <a:avLst/>
                  <a:gdLst>
                    <a:gd name="csX0" fmla="*/ 117206 w 1932922"/>
                    <a:gd name="csY0" fmla="*/ 0 h 468824"/>
                    <a:gd name="csX1" fmla="*/ 1572242 w 1932922"/>
                    <a:gd name="csY1" fmla="*/ 0 h 468824"/>
                    <a:gd name="csX2" fmla="*/ 1609707 w 1932922"/>
                    <a:gd name="csY2" fmla="*/ 0 h 468824"/>
                    <a:gd name="csX3" fmla="*/ 1852601 w 1932922"/>
                    <a:gd name="csY3" fmla="*/ 0 h 468824"/>
                    <a:gd name="csX4" fmla="*/ 1930504 w 1932922"/>
                    <a:gd name="csY4" fmla="*/ 89390 h 468824"/>
                    <a:gd name="csX5" fmla="*/ 1839854 w 1932922"/>
                    <a:gd name="csY5" fmla="*/ 414109 h 468824"/>
                    <a:gd name="csX6" fmla="*/ 1761950 w 1932922"/>
                    <a:gd name="csY6" fmla="*/ 468630 h 468824"/>
                    <a:gd name="csX7" fmla="*/ 1609707 w 1932922"/>
                    <a:gd name="csY7" fmla="*/ 468630 h 468824"/>
                    <a:gd name="csX8" fmla="*/ 1609707 w 1932922"/>
                    <a:gd name="csY8" fmla="*/ 468824 h 468824"/>
                    <a:gd name="csX9" fmla="*/ 71922 w 1932922"/>
                    <a:gd name="csY9" fmla="*/ 468824 h 468824"/>
                    <a:gd name="csX10" fmla="*/ 0 w 1932922"/>
                    <a:gd name="csY10" fmla="*/ 396902 h 468824"/>
                    <a:gd name="csX11" fmla="*/ 0 w 1932922"/>
                    <a:gd name="csY11" fmla="*/ 72049 h 468824"/>
                    <a:gd name="csX12" fmla="*/ 71922 w 1932922"/>
                    <a:gd name="csY12" fmla="*/ 127 h 468824"/>
                    <a:gd name="csX13" fmla="*/ 117206 w 1932922"/>
                    <a:gd name="csY13" fmla="*/ 127 h 46882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1932922" h="468824">
                      <a:moveTo>
                        <a:pt x="117206" y="0"/>
                      </a:moveTo>
                      <a:lnTo>
                        <a:pt x="1572242" y="0"/>
                      </a:lnTo>
                      <a:lnTo>
                        <a:pt x="1609707" y="0"/>
                      </a:lnTo>
                      <a:lnTo>
                        <a:pt x="1852601" y="0"/>
                      </a:lnTo>
                      <a:cubicBezTo>
                        <a:pt x="1904867" y="0"/>
                        <a:pt x="1943109" y="43998"/>
                        <a:pt x="1930504" y="89390"/>
                      </a:cubicBezTo>
                      <a:lnTo>
                        <a:pt x="1839854" y="414109"/>
                      </a:lnTo>
                      <a:cubicBezTo>
                        <a:pt x="1830929" y="446187"/>
                        <a:pt x="1798777" y="468630"/>
                        <a:pt x="1761950" y="468630"/>
                      </a:cubicBezTo>
                      <a:lnTo>
                        <a:pt x="1609707" y="468630"/>
                      </a:lnTo>
                      <a:lnTo>
                        <a:pt x="1609707" y="468824"/>
                      </a:lnTo>
                      <a:lnTo>
                        <a:pt x="71922" y="468824"/>
                      </a:lnTo>
                      <a:cubicBezTo>
                        <a:pt x="32219" y="468824"/>
                        <a:pt x="0" y="436605"/>
                        <a:pt x="0" y="396902"/>
                      </a:cubicBezTo>
                      <a:lnTo>
                        <a:pt x="0" y="72049"/>
                      </a:lnTo>
                      <a:cubicBezTo>
                        <a:pt x="0" y="32346"/>
                        <a:pt x="32219" y="127"/>
                        <a:pt x="71922" y="127"/>
                      </a:cubicBezTo>
                      <a:lnTo>
                        <a:pt x="117206" y="127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>
                  <a:noAutofit/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581" name="文本框 580"/>
              <p:cNvSpPr txBox="1"/>
              <p:nvPr/>
            </p:nvSpPr>
            <p:spPr>
              <a:xfrm>
                <a:off x="636696" y="3385993"/>
                <a:ext cx="1626492" cy="338554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>
                <a:defPPr>
                  <a:defRPr lang="zh-CN"/>
                </a:defPPr>
                <a:lvl1pPr>
                  <a:defRPr b="1">
                    <a:gradFill>
                      <a:gsLst>
                        <a:gs pos="100000">
                          <a:schemeClr val="bg1"/>
                        </a:gs>
                        <a:gs pos="0">
                          <a:schemeClr val="bg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en-US" altLang="zh-CN" sz="1600"/>
                  <a:t>【</a:t>
                </a:r>
                <a:r>
                  <a:rPr lang="zh-CN" altLang="en-US" sz="1600"/>
                  <a:t>儿童用药</a:t>
                </a:r>
                <a:r>
                  <a:rPr lang="en-US" altLang="zh-CN" sz="1600"/>
                  <a:t>】</a:t>
                </a:r>
                <a:endParaRPr lang="en-US" altLang="zh-CN" sz="1600"/>
              </a:p>
            </p:txBody>
          </p:sp>
          <p:pic>
            <p:nvPicPr>
              <p:cNvPr id="578" name="图形 577"/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76894" y="3404106"/>
                <a:ext cx="319604" cy="319599"/>
              </a:xfrm>
              <a:prstGeom prst="rect">
                <a:avLst/>
              </a:prstGeom>
            </p:spPr>
          </p:pic>
        </p:grpSp>
        <p:sp>
          <p:nvSpPr>
            <p:cNvPr id="592" name="文本框 591"/>
            <p:cNvSpPr txBox="1"/>
            <p:nvPr/>
          </p:nvSpPr>
          <p:spPr>
            <a:xfrm>
              <a:off x="374649" y="3799464"/>
              <a:ext cx="5002530" cy="7372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t">
              <a:spAutoFit/>
            </a:bodyPr>
            <a:lstStyle/>
            <a:p>
              <a:pPr algn="l">
                <a:lnSpc>
                  <a:spcPct val="150000"/>
                </a:lnSpc>
                <a:buNone/>
              </a:pPr>
              <a:r>
                <a:rPr lang="zh-CN" altLang="en-US" sz="1400" b="1">
                  <a:solidFill>
                    <a:schemeClr val="tx1"/>
                  </a:solidFill>
                  <a:latin typeface="+mn-ea"/>
                  <a:sym typeface="+mn-ea"/>
                </a:rPr>
                <a:t>已初步确认</a:t>
              </a:r>
              <a:r>
                <a:rPr lang="en-US" altLang="zh-CN" sz="1400" b="1">
                  <a:solidFill>
                    <a:schemeClr val="tx1"/>
                  </a:solidFill>
                  <a:latin typeface="+mn-ea"/>
                  <a:sym typeface="+mn-ea"/>
                </a:rPr>
                <a:t>0.24%</a:t>
              </a:r>
              <a:r>
                <a:rPr lang="zh-CN" altLang="en-US" sz="1400" b="1">
                  <a:solidFill>
                    <a:schemeClr val="tx1"/>
                  </a:solidFill>
                  <a:latin typeface="+mn-ea"/>
                  <a:sym typeface="+mn-ea"/>
                </a:rPr>
                <a:t>盐酸西替利嗪滴眼液在</a:t>
              </a:r>
              <a:r>
                <a:rPr lang="en-US" altLang="zh-CN" sz="1400" b="1">
                  <a:solidFill>
                    <a:schemeClr val="tx1"/>
                  </a:solidFill>
                  <a:latin typeface="+mn-ea"/>
                  <a:sym typeface="+mn-ea"/>
                </a:rPr>
                <a:t>2</a:t>
              </a:r>
              <a:r>
                <a:rPr lang="zh-CN" altLang="en-US" sz="1400" b="1">
                  <a:solidFill>
                    <a:schemeClr val="tx1"/>
                  </a:solidFill>
                  <a:latin typeface="+mn-ea"/>
                  <a:sym typeface="+mn-ea"/>
                </a:rPr>
                <a:t>岁及以上</a:t>
              </a:r>
              <a:r>
                <a:rPr lang="zh-CN" altLang="en-US" sz="1400" b="1">
                  <a:solidFill>
                    <a:schemeClr val="tx1"/>
                  </a:solidFill>
                  <a:latin typeface="+mn-ea"/>
                  <a:sym typeface="+mn-ea"/>
                </a:rPr>
                <a:t>幼儿患者中的安全性和有效性</a:t>
              </a:r>
              <a:endParaRPr lang="zh-CN" altLang="en-US" sz="1400" b="1">
                <a:solidFill>
                  <a:schemeClr val="tx1"/>
                </a:solidFill>
                <a:latin typeface="+mn-ea"/>
                <a:ea typeface="+mn-ea"/>
                <a:sym typeface="+mn-ea"/>
              </a:endParaRPr>
            </a:p>
          </p:txBody>
        </p:sp>
      </p:grpSp>
      <p:grpSp>
        <p:nvGrpSpPr>
          <p:cNvPr id="603" name="组合 602"/>
          <p:cNvGrpSpPr/>
          <p:nvPr/>
        </p:nvGrpSpPr>
        <p:grpSpPr>
          <a:xfrm>
            <a:off x="5737688" y="3401711"/>
            <a:ext cx="6069965" cy="1142365"/>
            <a:chOff x="5406218" y="3401711"/>
            <a:chExt cx="6069965" cy="1142365"/>
          </a:xfrm>
        </p:grpSpPr>
        <p:grpSp>
          <p:nvGrpSpPr>
            <p:cNvPr id="594" name="组合 593"/>
            <p:cNvGrpSpPr/>
            <p:nvPr/>
          </p:nvGrpSpPr>
          <p:grpSpPr>
            <a:xfrm>
              <a:off x="5406218" y="3401711"/>
              <a:ext cx="6069965" cy="1142365"/>
              <a:chOff x="374649" y="3394334"/>
              <a:chExt cx="6069965" cy="1142365"/>
            </a:xfrm>
          </p:grpSpPr>
          <p:grpSp>
            <p:nvGrpSpPr>
              <p:cNvPr id="595" name="组合 594"/>
              <p:cNvGrpSpPr/>
              <p:nvPr/>
            </p:nvGrpSpPr>
            <p:grpSpPr>
              <a:xfrm>
                <a:off x="374649" y="3394334"/>
                <a:ext cx="1733129" cy="405941"/>
                <a:chOff x="374649" y="3320858"/>
                <a:chExt cx="2004314" cy="469459"/>
              </a:xfrm>
            </p:grpSpPr>
            <p:grpSp>
              <p:nvGrpSpPr>
                <p:cNvPr id="597" name="组合 596"/>
                <p:cNvGrpSpPr/>
                <p:nvPr/>
              </p:nvGrpSpPr>
              <p:grpSpPr>
                <a:xfrm>
                  <a:off x="374649" y="3320858"/>
                  <a:ext cx="2004314" cy="469459"/>
                  <a:chOff x="374649" y="3320858"/>
                  <a:chExt cx="2004314" cy="469459"/>
                </a:xfrm>
              </p:grpSpPr>
              <p:pic>
                <p:nvPicPr>
                  <p:cNvPr id="600" name="图形 599"/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l="90802"/>
                  <a:stretch>
                    <a:fillRect/>
                  </a:stretch>
                </p:blipFill>
                <p:spPr>
                  <a:xfrm>
                    <a:off x="1975266" y="3320986"/>
                    <a:ext cx="403697" cy="469331"/>
                  </a:xfrm>
                  <a:custGeom>
                    <a:avLst/>
                    <a:gdLst>
                      <a:gd name="csX0" fmla="*/ 0 w 403697"/>
                      <a:gd name="csY0" fmla="*/ 0 h 469331"/>
                      <a:gd name="csX1" fmla="*/ 403697 w 403697"/>
                      <a:gd name="csY1" fmla="*/ 0 h 469331"/>
                      <a:gd name="csX2" fmla="*/ 403697 w 403697"/>
                      <a:gd name="csY2" fmla="*/ 469331 h 469331"/>
                      <a:gd name="csX3" fmla="*/ 0 w 403697"/>
                      <a:gd name="csY3" fmla="*/ 469331 h 46933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</a:cxnLst>
                    <a:rect l="l" t="t" r="r" b="b"/>
                    <a:pathLst>
                      <a:path w="403697" h="469331">
                        <a:moveTo>
                          <a:pt x="0" y="0"/>
                        </a:moveTo>
                        <a:lnTo>
                          <a:pt x="403697" y="0"/>
                        </a:lnTo>
                        <a:lnTo>
                          <a:pt x="403697" y="469331"/>
                        </a:lnTo>
                        <a:lnTo>
                          <a:pt x="0" y="469331"/>
                        </a:lnTo>
                        <a:close/>
                      </a:path>
                    </a:pathLst>
                  </a:custGeom>
                </p:spPr>
              </p:pic>
              <p:sp>
                <p:nvSpPr>
                  <p:cNvPr id="601" name="任意多边形: 形状 600"/>
                  <p:cNvSpPr/>
                  <p:nvPr/>
                </p:nvSpPr>
                <p:spPr>
                  <a:xfrm>
                    <a:off x="374649" y="3320858"/>
                    <a:ext cx="1932922" cy="468824"/>
                  </a:xfrm>
                  <a:custGeom>
                    <a:avLst/>
                    <a:gdLst>
                      <a:gd name="csX0" fmla="*/ 117206 w 1932922"/>
                      <a:gd name="csY0" fmla="*/ 0 h 468824"/>
                      <a:gd name="csX1" fmla="*/ 1572242 w 1932922"/>
                      <a:gd name="csY1" fmla="*/ 0 h 468824"/>
                      <a:gd name="csX2" fmla="*/ 1609707 w 1932922"/>
                      <a:gd name="csY2" fmla="*/ 0 h 468824"/>
                      <a:gd name="csX3" fmla="*/ 1852601 w 1932922"/>
                      <a:gd name="csY3" fmla="*/ 0 h 468824"/>
                      <a:gd name="csX4" fmla="*/ 1930504 w 1932922"/>
                      <a:gd name="csY4" fmla="*/ 89390 h 468824"/>
                      <a:gd name="csX5" fmla="*/ 1839854 w 1932922"/>
                      <a:gd name="csY5" fmla="*/ 414109 h 468824"/>
                      <a:gd name="csX6" fmla="*/ 1761950 w 1932922"/>
                      <a:gd name="csY6" fmla="*/ 468630 h 468824"/>
                      <a:gd name="csX7" fmla="*/ 1609707 w 1932922"/>
                      <a:gd name="csY7" fmla="*/ 468630 h 468824"/>
                      <a:gd name="csX8" fmla="*/ 1609707 w 1932922"/>
                      <a:gd name="csY8" fmla="*/ 468824 h 468824"/>
                      <a:gd name="csX9" fmla="*/ 71922 w 1932922"/>
                      <a:gd name="csY9" fmla="*/ 468824 h 468824"/>
                      <a:gd name="csX10" fmla="*/ 0 w 1932922"/>
                      <a:gd name="csY10" fmla="*/ 396902 h 468824"/>
                      <a:gd name="csX11" fmla="*/ 0 w 1932922"/>
                      <a:gd name="csY11" fmla="*/ 72049 h 468824"/>
                      <a:gd name="csX12" fmla="*/ 71922 w 1932922"/>
                      <a:gd name="csY12" fmla="*/ 127 h 468824"/>
                      <a:gd name="csX13" fmla="*/ 117206 w 1932922"/>
                      <a:gd name="csY13" fmla="*/ 127 h 468824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</a:cxnLst>
                    <a:rect l="l" t="t" r="r" b="b"/>
                    <a:pathLst>
                      <a:path w="1932922" h="468824">
                        <a:moveTo>
                          <a:pt x="117206" y="0"/>
                        </a:moveTo>
                        <a:lnTo>
                          <a:pt x="1572242" y="0"/>
                        </a:lnTo>
                        <a:lnTo>
                          <a:pt x="1609707" y="0"/>
                        </a:lnTo>
                        <a:lnTo>
                          <a:pt x="1852601" y="0"/>
                        </a:lnTo>
                        <a:cubicBezTo>
                          <a:pt x="1904867" y="0"/>
                          <a:pt x="1943109" y="43998"/>
                          <a:pt x="1930504" y="89390"/>
                        </a:cubicBezTo>
                        <a:lnTo>
                          <a:pt x="1839854" y="414109"/>
                        </a:lnTo>
                        <a:cubicBezTo>
                          <a:pt x="1830929" y="446187"/>
                          <a:pt x="1798777" y="468630"/>
                          <a:pt x="1761950" y="468630"/>
                        </a:cubicBezTo>
                        <a:lnTo>
                          <a:pt x="1609707" y="468630"/>
                        </a:lnTo>
                        <a:lnTo>
                          <a:pt x="1609707" y="468824"/>
                        </a:lnTo>
                        <a:lnTo>
                          <a:pt x="71922" y="468824"/>
                        </a:lnTo>
                        <a:cubicBezTo>
                          <a:pt x="32219" y="468824"/>
                          <a:pt x="0" y="436605"/>
                          <a:pt x="0" y="396902"/>
                        </a:cubicBezTo>
                        <a:lnTo>
                          <a:pt x="0" y="72049"/>
                        </a:lnTo>
                        <a:cubicBezTo>
                          <a:pt x="0" y="32346"/>
                          <a:pt x="32219" y="127"/>
                          <a:pt x="71922" y="127"/>
                        </a:cubicBezTo>
                        <a:lnTo>
                          <a:pt x="117206" y="127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>
                    <a:noAutofit/>
                  </a:bodyPr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598" name="文本框 597"/>
                <p:cNvSpPr txBox="1"/>
                <p:nvPr/>
              </p:nvSpPr>
              <p:spPr>
                <a:xfrm>
                  <a:off x="636696" y="3359506"/>
                  <a:ext cx="1626493" cy="391528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>
                  <a:defPPr>
                    <a:defRPr lang="zh-CN"/>
                  </a:defPPr>
                  <a:lvl1pPr>
                    <a:defRPr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en-US" altLang="zh-CN" sz="1600"/>
                    <a:t>【</a:t>
                  </a:r>
                  <a:r>
                    <a:rPr lang="zh-CN" altLang="en-US" sz="1600"/>
                    <a:t>用法用量</a:t>
                  </a:r>
                  <a:r>
                    <a:rPr lang="en-US" altLang="zh-CN" sz="1600"/>
                    <a:t>】</a:t>
                  </a:r>
                  <a:endParaRPr lang="en-US" altLang="zh-CN" sz="1600"/>
                </a:p>
              </p:txBody>
            </p:sp>
          </p:grpSp>
          <p:sp>
            <p:nvSpPr>
              <p:cNvPr id="596" name="文本框 595"/>
              <p:cNvSpPr txBox="1"/>
              <p:nvPr/>
            </p:nvSpPr>
            <p:spPr>
              <a:xfrm>
                <a:off x="374649" y="3799464"/>
                <a:ext cx="6069965" cy="7372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>
                  <a:lnSpc>
                    <a:spcPct val="150000"/>
                  </a:lnSpc>
                  <a:buNone/>
                </a:pPr>
                <a:r>
                  <a:rPr lang="zh-CN" altLang="en-US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每只患眼每日滴眼</a:t>
                </a:r>
                <a:r>
                  <a:rPr lang="en-US" altLang="zh-CN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2</a:t>
                </a:r>
                <a:r>
                  <a:rPr lang="zh-CN" altLang="en-US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次，每次</a:t>
                </a:r>
                <a:r>
                  <a:rPr lang="en-US" altLang="zh-CN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1</a:t>
                </a:r>
                <a:r>
                  <a:rPr lang="zh-CN" altLang="en-US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滴（大约间隔</a:t>
                </a:r>
                <a:r>
                  <a:rPr lang="en-US" altLang="zh-CN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8</a:t>
                </a:r>
                <a:r>
                  <a:rPr lang="zh-CN" altLang="en-US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+mn-ea"/>
                    <a:sym typeface="+mn-ea"/>
                  </a:rPr>
                  <a:t>小时）。一次性容器应在打开后立即使用，可用于双眼给药。给药后，丢弃一次性容器和任何剩余内容物</a:t>
                </a:r>
                <a:endParaRPr lang="zh-CN" altLang="en-US" sz="140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latin typeface="+mn-ea"/>
                  <a:sym typeface="+mn-ea"/>
                </a:endParaRPr>
              </a:p>
            </p:txBody>
          </p:sp>
        </p:grpSp>
        <p:pic>
          <p:nvPicPr>
            <p:cNvPr id="602" name="图形 601"/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514515" y="3467949"/>
              <a:ext cx="232236" cy="266030"/>
            </a:xfrm>
            <a:prstGeom prst="rect">
              <a:avLst/>
            </a:prstGeom>
          </p:spPr>
        </p:pic>
      </p:grpSp>
      <p:grpSp>
        <p:nvGrpSpPr>
          <p:cNvPr id="20" name="组合 19"/>
          <p:cNvGrpSpPr/>
          <p:nvPr/>
        </p:nvGrpSpPr>
        <p:grpSpPr>
          <a:xfrm>
            <a:off x="550984" y="5101650"/>
            <a:ext cx="1464558" cy="840451"/>
            <a:chOff x="661275" y="5090019"/>
            <a:chExt cx="1329861" cy="763154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15"/>
            <a:srcRect l="32848"/>
            <a:stretch>
              <a:fillRect/>
            </a:stretch>
          </p:blipFill>
          <p:spPr>
            <a:xfrm>
              <a:off x="1077532" y="5090019"/>
              <a:ext cx="913604" cy="763154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15"/>
            <a:srcRect r="67285" b="9384"/>
            <a:stretch>
              <a:fillRect/>
            </a:stretch>
          </p:blipFill>
          <p:spPr>
            <a:xfrm>
              <a:off x="661275" y="5114521"/>
              <a:ext cx="421889" cy="667708"/>
            </a:xfrm>
            <a:prstGeom prst="rect">
              <a:avLst/>
            </a:prstGeom>
            <a:effectLst>
              <a:reflection blurRad="6350" stA="20000" endPos="35000" dir="5400000" sy="-100000" algn="bl" rotWithShape="0"/>
            </a:effectLst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15"/>
            <a:srcRect r="67285" b="8751"/>
            <a:stretch>
              <a:fillRect/>
            </a:stretch>
          </p:blipFill>
          <p:spPr>
            <a:xfrm>
              <a:off x="860732" y="5206412"/>
              <a:ext cx="383305" cy="610881"/>
            </a:xfrm>
            <a:prstGeom prst="rect">
              <a:avLst/>
            </a:prstGeom>
            <a:effectLst>
              <a:outerShdw blurRad="63500" dist="63500" dir="13500000" algn="br" rotWithShape="0">
                <a:prstClr val="black">
                  <a:alpha val="10000"/>
                </a:prstClr>
              </a:outerShdw>
              <a:reflection blurRad="6350" stA="20000" endPos="35000" dir="5400000" sy="-100000" algn="bl" rotWithShape="0"/>
            </a:effectLst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155575" y="6509712"/>
            <a:ext cx="11661775" cy="173028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 Kavanagh JT. Blurred Lines: The Interaction and Overlap of Ocular Allergy and Dry Eye[J]. Ophthalmology360, 2025. ; 2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产品说明书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2834005" y="348288"/>
            <a:ext cx="92456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buNone/>
            </a:pPr>
            <a:r>
              <a:rPr lang="zh-CN" altLang="en-US" sz="2400" b="1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立足过敏干眼共病诊疗需求 依托胶束技术打造新一代抗过敏滴眼液</a:t>
            </a:r>
            <a:endParaRPr lang="zh-CN" altLang="en-US" sz="2400" b="1">
              <a:gradFill>
                <a:gsLst>
                  <a:gs pos="100000">
                    <a:schemeClr val="tx1"/>
                  </a:gs>
                  <a:gs pos="0">
                    <a:schemeClr val="tx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30" name="组合 29"/>
          <p:cNvGrpSpPr/>
          <p:nvPr/>
        </p:nvGrpSpPr>
        <p:grpSpPr>
          <a:xfrm>
            <a:off x="0" y="225425"/>
            <a:ext cx="2946400" cy="706755"/>
            <a:chOff x="0" y="225425"/>
            <a:chExt cx="2946400" cy="706755"/>
          </a:xfrm>
        </p:grpSpPr>
        <p:grpSp>
          <p:nvGrpSpPr>
            <p:cNvPr id="29" name="组合 28"/>
            <p:cNvGrpSpPr/>
            <p:nvPr/>
          </p:nvGrpSpPr>
          <p:grpSpPr>
            <a:xfrm>
              <a:off x="0" y="225425"/>
              <a:ext cx="2946400" cy="706755"/>
              <a:chOff x="0" y="225425"/>
              <a:chExt cx="2946400" cy="706755"/>
            </a:xfrm>
          </p:grpSpPr>
          <p:sp>
            <p:nvSpPr>
              <p:cNvPr id="28" name="任意多边形: 形状 27"/>
              <p:cNvSpPr/>
              <p:nvPr/>
            </p:nvSpPr>
            <p:spPr>
              <a:xfrm rot="10800000" flipH="1">
                <a:off x="883285" y="225425"/>
                <a:ext cx="2063115" cy="706755"/>
              </a:xfrm>
              <a:custGeom>
                <a:avLst/>
                <a:gdLst>
                  <a:gd name="csX0" fmla="*/ 0 w 2063115"/>
                  <a:gd name="csY0" fmla="*/ 706755 h 706755"/>
                  <a:gd name="csX1" fmla="*/ 1750340 w 2063115"/>
                  <a:gd name="csY1" fmla="*/ 706755 h 706755"/>
                  <a:gd name="csX2" fmla="*/ 1833245 w 2063115"/>
                  <a:gd name="csY2" fmla="*/ 667917 h 706755"/>
                  <a:gd name="csX3" fmla="*/ 2038014 w 2063115"/>
                  <a:gd name="csY3" fmla="*/ 422494 h 706755"/>
                  <a:gd name="csX4" fmla="*/ 2038014 w 2063115"/>
                  <a:gd name="csY4" fmla="*/ 284133 h 706755"/>
                  <a:gd name="csX5" fmla="*/ 1833245 w 2063115"/>
                  <a:gd name="csY5" fmla="*/ 38838 h 706755"/>
                  <a:gd name="csX6" fmla="*/ 1750340 w 2063115"/>
                  <a:gd name="csY6" fmla="*/ 0 h 706755"/>
                  <a:gd name="csX7" fmla="*/ 0 w 2063115"/>
                  <a:gd name="csY7" fmla="*/ 0 h 706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063115" h="706755">
                    <a:moveTo>
                      <a:pt x="0" y="706755"/>
                    </a:moveTo>
                    <a:lnTo>
                      <a:pt x="1750340" y="706755"/>
                    </a:lnTo>
                    <a:cubicBezTo>
                      <a:pt x="1782403" y="706755"/>
                      <a:pt x="1812678" y="692573"/>
                      <a:pt x="1833245" y="667917"/>
                    </a:cubicBezTo>
                    <a:lnTo>
                      <a:pt x="2038014" y="422494"/>
                    </a:lnTo>
                    <a:cubicBezTo>
                      <a:pt x="2071482" y="382379"/>
                      <a:pt x="2071482" y="324121"/>
                      <a:pt x="2038014" y="284133"/>
                    </a:cubicBezTo>
                    <a:lnTo>
                      <a:pt x="1833245" y="38838"/>
                    </a:lnTo>
                    <a:cubicBezTo>
                      <a:pt x="1812678" y="14181"/>
                      <a:pt x="1782276" y="0"/>
                      <a:pt x="1750340" y="0"/>
                    </a:cubicBez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rgbClr val="FFFFFF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endParaRPr lang="zh-CN" altLang="en-US" i="1"/>
              </a:p>
            </p:txBody>
          </p:sp>
          <p:sp>
            <p:nvSpPr>
              <p:cNvPr id="27" name="任意多边形: 形状 26"/>
              <p:cNvSpPr/>
              <p:nvPr/>
            </p:nvSpPr>
            <p:spPr>
              <a:xfrm rot="10800000" flipH="1">
                <a:off x="0" y="225425"/>
                <a:ext cx="2825114" cy="706755"/>
              </a:xfrm>
              <a:custGeom>
                <a:avLst/>
                <a:gdLst>
                  <a:gd name="csX0" fmla="*/ 0 w 2825114"/>
                  <a:gd name="csY0" fmla="*/ 706755 h 706755"/>
                  <a:gd name="csX1" fmla="*/ 883284 w 2825114"/>
                  <a:gd name="csY1" fmla="*/ 706755 h 706755"/>
                  <a:gd name="csX2" fmla="*/ 1629046 w 2825114"/>
                  <a:gd name="csY2" fmla="*/ 706755 h 706755"/>
                  <a:gd name="csX3" fmla="*/ 2512330 w 2825114"/>
                  <a:gd name="csY3" fmla="*/ 706755 h 706755"/>
                  <a:gd name="csX4" fmla="*/ 2595238 w 2825114"/>
                  <a:gd name="csY4" fmla="*/ 667917 h 706755"/>
                  <a:gd name="csX5" fmla="*/ 2800013 w 2825114"/>
                  <a:gd name="csY5" fmla="*/ 422494 h 706755"/>
                  <a:gd name="csX6" fmla="*/ 2800013 w 2825114"/>
                  <a:gd name="csY6" fmla="*/ 284133 h 706755"/>
                  <a:gd name="csX7" fmla="*/ 2595238 w 2825114"/>
                  <a:gd name="csY7" fmla="*/ 38838 h 706755"/>
                  <a:gd name="csX8" fmla="*/ 2512330 w 2825114"/>
                  <a:gd name="csY8" fmla="*/ 0 h 706755"/>
                  <a:gd name="csX9" fmla="*/ 1629046 w 2825114"/>
                  <a:gd name="csY9" fmla="*/ 0 h 706755"/>
                  <a:gd name="csX10" fmla="*/ 883284 w 2825114"/>
                  <a:gd name="csY10" fmla="*/ 0 h 706755"/>
                  <a:gd name="csX11" fmla="*/ 0 w 2825114"/>
                  <a:gd name="csY11" fmla="*/ 0 h 706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</a:cxnLst>
                <a:rect l="l" t="t" r="r" b="b"/>
                <a:pathLst>
                  <a:path w="2825114" h="706755">
                    <a:moveTo>
                      <a:pt x="0" y="706755"/>
                    </a:moveTo>
                    <a:lnTo>
                      <a:pt x="883284" y="706755"/>
                    </a:lnTo>
                    <a:lnTo>
                      <a:pt x="1629046" y="706755"/>
                    </a:lnTo>
                    <a:lnTo>
                      <a:pt x="2512330" y="706755"/>
                    </a:lnTo>
                    <a:cubicBezTo>
                      <a:pt x="2544394" y="706755"/>
                      <a:pt x="2574670" y="692573"/>
                      <a:pt x="2595238" y="667917"/>
                    </a:cubicBezTo>
                    <a:lnTo>
                      <a:pt x="2800013" y="422494"/>
                    </a:lnTo>
                    <a:cubicBezTo>
                      <a:pt x="2833481" y="382379"/>
                      <a:pt x="2833481" y="324121"/>
                      <a:pt x="2800013" y="284133"/>
                    </a:cubicBezTo>
                    <a:lnTo>
                      <a:pt x="2595238" y="38838"/>
                    </a:lnTo>
                    <a:cubicBezTo>
                      <a:pt x="2574670" y="14181"/>
                      <a:pt x="2544267" y="0"/>
                      <a:pt x="2512330" y="0"/>
                    </a:cubicBezTo>
                    <a:lnTo>
                      <a:pt x="1629046" y="0"/>
                    </a:lnTo>
                    <a:lnTo>
                      <a:pt x="883284" y="0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rgbClr val="FFFFFF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endParaRPr lang="zh-CN" altLang="en-US" i="1"/>
              </a:p>
            </p:txBody>
          </p:sp>
        </p:grpSp>
        <p:sp>
          <p:nvSpPr>
            <p:cNvPr id="23" name="文本框 22"/>
            <p:cNvSpPr txBox="1"/>
            <p:nvPr/>
          </p:nvSpPr>
          <p:spPr>
            <a:xfrm>
              <a:off x="61595" y="337810"/>
              <a:ext cx="2600325" cy="46166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疾病进展与研发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sp>
        <p:nvSpPr>
          <p:cNvPr id="31" name="任意多边形: 形状 30"/>
          <p:cNvSpPr/>
          <p:nvPr/>
        </p:nvSpPr>
        <p:spPr>
          <a:xfrm flipH="1">
            <a:off x="389075" y="1374457"/>
            <a:ext cx="11413850" cy="1286284"/>
          </a:xfrm>
          <a:custGeom>
            <a:avLst/>
            <a:gdLst>
              <a:gd name="csX0" fmla="*/ 10952151 w 11413850"/>
              <a:gd name="csY0" fmla="*/ 0 h 1286284"/>
              <a:gd name="csX1" fmla="*/ 10722281 w 11413850"/>
              <a:gd name="csY1" fmla="*/ 0 h 1286284"/>
              <a:gd name="csX2" fmla="*/ 8292469 w 11413850"/>
              <a:gd name="csY2" fmla="*/ 0 h 1286284"/>
              <a:gd name="csX3" fmla="*/ 8158930 w 11413850"/>
              <a:gd name="csY3" fmla="*/ 0 h 1286284"/>
              <a:gd name="csX4" fmla="*/ 8062599 w 11413850"/>
              <a:gd name="csY4" fmla="*/ 0 h 1286284"/>
              <a:gd name="csX5" fmla="*/ 7929060 w 11413850"/>
              <a:gd name="csY5" fmla="*/ 0 h 1286284"/>
              <a:gd name="csX6" fmla="*/ 7708063 w 11413850"/>
              <a:gd name="csY6" fmla="*/ 0 h 1286284"/>
              <a:gd name="csX7" fmla="*/ 7574526 w 11413850"/>
              <a:gd name="csY7" fmla="*/ 0 h 1286284"/>
              <a:gd name="csX8" fmla="*/ 7478193 w 11413850"/>
              <a:gd name="csY8" fmla="*/ 0 h 1286284"/>
              <a:gd name="csX9" fmla="*/ 7344656 w 11413850"/>
              <a:gd name="csY9" fmla="*/ 0 h 1286284"/>
              <a:gd name="csX10" fmla="*/ 6728879 w 11413850"/>
              <a:gd name="csY10" fmla="*/ 0 h 1286284"/>
              <a:gd name="csX11" fmla="*/ 6499009 w 11413850"/>
              <a:gd name="csY11" fmla="*/ 0 h 1286284"/>
              <a:gd name="csX12" fmla="*/ 4914842 w 11413850"/>
              <a:gd name="csY12" fmla="*/ 0 h 1286284"/>
              <a:gd name="csX13" fmla="*/ 4684972 w 11413850"/>
              <a:gd name="csY13" fmla="*/ 0 h 1286284"/>
              <a:gd name="csX14" fmla="*/ 4069196 w 11413850"/>
              <a:gd name="csY14" fmla="*/ 0 h 1286284"/>
              <a:gd name="csX15" fmla="*/ 3935657 w 11413850"/>
              <a:gd name="csY15" fmla="*/ 0 h 1286284"/>
              <a:gd name="csX16" fmla="*/ 3839326 w 11413850"/>
              <a:gd name="csY16" fmla="*/ 0 h 1286284"/>
              <a:gd name="csX17" fmla="*/ 3705787 w 11413850"/>
              <a:gd name="csY17" fmla="*/ 0 h 1286284"/>
              <a:gd name="csX18" fmla="*/ 3484790 w 11413850"/>
              <a:gd name="csY18" fmla="*/ 0 h 1286284"/>
              <a:gd name="csX19" fmla="*/ 3351252 w 11413850"/>
              <a:gd name="csY19" fmla="*/ 0 h 1286284"/>
              <a:gd name="csX20" fmla="*/ 3254920 w 11413850"/>
              <a:gd name="csY20" fmla="*/ 0 h 1286284"/>
              <a:gd name="csX21" fmla="*/ 3121382 w 11413850"/>
              <a:gd name="csY21" fmla="*/ 0 h 1286284"/>
              <a:gd name="csX22" fmla="*/ 691569 w 11413850"/>
              <a:gd name="csY22" fmla="*/ 0 h 1286284"/>
              <a:gd name="csX23" fmla="*/ 461699 w 11413850"/>
              <a:gd name="csY23" fmla="*/ 0 h 1286284"/>
              <a:gd name="csX24" fmla="*/ 211314 w 11413850"/>
              <a:gd name="csY24" fmla="*/ 154922 h 1286284"/>
              <a:gd name="csX25" fmla="*/ 29661 w 11413850"/>
              <a:gd name="csY25" fmla="*/ 517950 h 1286284"/>
              <a:gd name="csX26" fmla="*/ 29661 w 11413850"/>
              <a:gd name="csY26" fmla="*/ 768334 h 1286284"/>
              <a:gd name="csX27" fmla="*/ 211314 w 11413850"/>
              <a:gd name="csY27" fmla="*/ 1131365 h 1286284"/>
              <a:gd name="csX28" fmla="*/ 461699 w 11413850"/>
              <a:gd name="csY28" fmla="*/ 1286284 h 1286284"/>
              <a:gd name="csX29" fmla="*/ 691569 w 11413850"/>
              <a:gd name="csY29" fmla="*/ 1286284 h 1286284"/>
              <a:gd name="csX30" fmla="*/ 3121382 w 11413850"/>
              <a:gd name="csY30" fmla="*/ 1286284 h 1286284"/>
              <a:gd name="csX31" fmla="*/ 3254920 w 11413850"/>
              <a:gd name="csY31" fmla="*/ 1286284 h 1286284"/>
              <a:gd name="csX32" fmla="*/ 3351252 w 11413850"/>
              <a:gd name="csY32" fmla="*/ 1286284 h 1286284"/>
              <a:gd name="csX33" fmla="*/ 3484790 w 11413850"/>
              <a:gd name="csY33" fmla="*/ 1286284 h 1286284"/>
              <a:gd name="csX34" fmla="*/ 3705787 w 11413850"/>
              <a:gd name="csY34" fmla="*/ 1286284 h 1286284"/>
              <a:gd name="csX35" fmla="*/ 3839326 w 11413850"/>
              <a:gd name="csY35" fmla="*/ 1286284 h 1286284"/>
              <a:gd name="csX36" fmla="*/ 3935657 w 11413850"/>
              <a:gd name="csY36" fmla="*/ 1286284 h 1286284"/>
              <a:gd name="csX37" fmla="*/ 4069196 w 11413850"/>
              <a:gd name="csY37" fmla="*/ 1286284 h 1286284"/>
              <a:gd name="csX38" fmla="*/ 4684972 w 11413850"/>
              <a:gd name="csY38" fmla="*/ 1286284 h 1286284"/>
              <a:gd name="csX39" fmla="*/ 4914842 w 11413850"/>
              <a:gd name="csY39" fmla="*/ 1286284 h 1286284"/>
              <a:gd name="csX40" fmla="*/ 6499009 w 11413850"/>
              <a:gd name="csY40" fmla="*/ 1286284 h 1286284"/>
              <a:gd name="csX41" fmla="*/ 6728879 w 11413850"/>
              <a:gd name="csY41" fmla="*/ 1286284 h 1286284"/>
              <a:gd name="csX42" fmla="*/ 7344656 w 11413850"/>
              <a:gd name="csY42" fmla="*/ 1286284 h 1286284"/>
              <a:gd name="csX43" fmla="*/ 7478193 w 11413850"/>
              <a:gd name="csY43" fmla="*/ 1286284 h 1286284"/>
              <a:gd name="csX44" fmla="*/ 7574526 w 11413850"/>
              <a:gd name="csY44" fmla="*/ 1286284 h 1286284"/>
              <a:gd name="csX45" fmla="*/ 7708063 w 11413850"/>
              <a:gd name="csY45" fmla="*/ 1286284 h 1286284"/>
              <a:gd name="csX46" fmla="*/ 7929060 w 11413850"/>
              <a:gd name="csY46" fmla="*/ 1286284 h 1286284"/>
              <a:gd name="csX47" fmla="*/ 8062599 w 11413850"/>
              <a:gd name="csY47" fmla="*/ 1286284 h 1286284"/>
              <a:gd name="csX48" fmla="*/ 8158930 w 11413850"/>
              <a:gd name="csY48" fmla="*/ 1286284 h 1286284"/>
              <a:gd name="csX49" fmla="*/ 8292469 w 11413850"/>
              <a:gd name="csY49" fmla="*/ 1286284 h 1286284"/>
              <a:gd name="csX50" fmla="*/ 10722281 w 11413850"/>
              <a:gd name="csY50" fmla="*/ 1286284 h 1286284"/>
              <a:gd name="csX51" fmla="*/ 10952151 w 11413850"/>
              <a:gd name="csY51" fmla="*/ 1286284 h 1286284"/>
              <a:gd name="csX52" fmla="*/ 11202536 w 11413850"/>
              <a:gd name="csY52" fmla="*/ 1131365 h 1286284"/>
              <a:gd name="csX53" fmla="*/ 11384189 w 11413850"/>
              <a:gd name="csY53" fmla="*/ 768334 h 1286284"/>
              <a:gd name="csX54" fmla="*/ 11384189 w 11413850"/>
              <a:gd name="csY54" fmla="*/ 517950 h 1286284"/>
              <a:gd name="csX55" fmla="*/ 11202536 w 11413850"/>
              <a:gd name="csY55" fmla="*/ 154922 h 1286284"/>
              <a:gd name="csX56" fmla="*/ 10952151 w 11413850"/>
              <a:gd name="csY56" fmla="*/ 0 h 12862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11413850" h="1286284">
                <a:moveTo>
                  <a:pt x="10952151" y="0"/>
                </a:moveTo>
                <a:lnTo>
                  <a:pt x="10722281" y="0"/>
                </a:lnTo>
                <a:lnTo>
                  <a:pt x="8292469" y="0"/>
                </a:lnTo>
                <a:lnTo>
                  <a:pt x="8158930" y="0"/>
                </a:lnTo>
                <a:lnTo>
                  <a:pt x="8062599" y="0"/>
                </a:lnTo>
                <a:lnTo>
                  <a:pt x="7929060" y="0"/>
                </a:lnTo>
                <a:lnTo>
                  <a:pt x="7708063" y="0"/>
                </a:lnTo>
                <a:lnTo>
                  <a:pt x="7574526" y="0"/>
                </a:lnTo>
                <a:lnTo>
                  <a:pt x="7478193" y="0"/>
                </a:lnTo>
                <a:lnTo>
                  <a:pt x="7344656" y="0"/>
                </a:lnTo>
                <a:lnTo>
                  <a:pt x="6728879" y="0"/>
                </a:lnTo>
                <a:lnTo>
                  <a:pt x="6499009" y="0"/>
                </a:lnTo>
                <a:lnTo>
                  <a:pt x="4914842" y="0"/>
                </a:lnTo>
                <a:lnTo>
                  <a:pt x="4684972" y="0"/>
                </a:lnTo>
                <a:lnTo>
                  <a:pt x="4069196" y="0"/>
                </a:lnTo>
                <a:lnTo>
                  <a:pt x="3935657" y="0"/>
                </a:lnTo>
                <a:lnTo>
                  <a:pt x="3839326" y="0"/>
                </a:lnTo>
                <a:lnTo>
                  <a:pt x="3705787" y="0"/>
                </a:lnTo>
                <a:lnTo>
                  <a:pt x="3484790" y="0"/>
                </a:lnTo>
                <a:lnTo>
                  <a:pt x="3351252" y="0"/>
                </a:lnTo>
                <a:lnTo>
                  <a:pt x="3254920" y="0"/>
                </a:lnTo>
                <a:lnTo>
                  <a:pt x="3121382" y="0"/>
                </a:lnTo>
                <a:lnTo>
                  <a:pt x="691569" y="0"/>
                </a:lnTo>
                <a:lnTo>
                  <a:pt x="461699" y="0"/>
                </a:lnTo>
                <a:cubicBezTo>
                  <a:pt x="355596" y="0"/>
                  <a:pt x="258773" y="60005"/>
                  <a:pt x="211314" y="154922"/>
                </a:cubicBezTo>
                <a:lnTo>
                  <a:pt x="29661" y="517950"/>
                </a:lnTo>
                <a:cubicBezTo>
                  <a:pt x="-9887" y="596776"/>
                  <a:pt x="-9887" y="689510"/>
                  <a:pt x="29661" y="768334"/>
                </a:cubicBezTo>
                <a:lnTo>
                  <a:pt x="211314" y="1131365"/>
                </a:lnTo>
                <a:cubicBezTo>
                  <a:pt x="258773" y="1226280"/>
                  <a:pt x="355596" y="1286284"/>
                  <a:pt x="461699" y="1286284"/>
                </a:cubicBezTo>
                <a:lnTo>
                  <a:pt x="691569" y="1286284"/>
                </a:lnTo>
                <a:lnTo>
                  <a:pt x="3121382" y="1286284"/>
                </a:lnTo>
                <a:lnTo>
                  <a:pt x="3254920" y="1286284"/>
                </a:lnTo>
                <a:lnTo>
                  <a:pt x="3351252" y="1286284"/>
                </a:lnTo>
                <a:lnTo>
                  <a:pt x="3484790" y="1286284"/>
                </a:lnTo>
                <a:lnTo>
                  <a:pt x="3705787" y="1286284"/>
                </a:lnTo>
                <a:lnTo>
                  <a:pt x="3839326" y="1286284"/>
                </a:lnTo>
                <a:lnTo>
                  <a:pt x="3935657" y="1286284"/>
                </a:lnTo>
                <a:lnTo>
                  <a:pt x="4069196" y="1286284"/>
                </a:lnTo>
                <a:lnTo>
                  <a:pt x="4684972" y="1286284"/>
                </a:lnTo>
                <a:lnTo>
                  <a:pt x="4914842" y="1286284"/>
                </a:lnTo>
                <a:lnTo>
                  <a:pt x="6499009" y="1286284"/>
                </a:lnTo>
                <a:lnTo>
                  <a:pt x="6728879" y="1286284"/>
                </a:lnTo>
                <a:lnTo>
                  <a:pt x="7344656" y="1286284"/>
                </a:lnTo>
                <a:lnTo>
                  <a:pt x="7478193" y="1286284"/>
                </a:lnTo>
                <a:lnTo>
                  <a:pt x="7574526" y="1286284"/>
                </a:lnTo>
                <a:lnTo>
                  <a:pt x="7708063" y="1286284"/>
                </a:lnTo>
                <a:lnTo>
                  <a:pt x="7929060" y="1286284"/>
                </a:lnTo>
                <a:lnTo>
                  <a:pt x="8062599" y="1286284"/>
                </a:lnTo>
                <a:lnTo>
                  <a:pt x="8158930" y="1286284"/>
                </a:lnTo>
                <a:lnTo>
                  <a:pt x="8292469" y="1286284"/>
                </a:lnTo>
                <a:lnTo>
                  <a:pt x="10722281" y="1286284"/>
                </a:lnTo>
                <a:lnTo>
                  <a:pt x="10952151" y="1286284"/>
                </a:lnTo>
                <a:cubicBezTo>
                  <a:pt x="11058254" y="1286284"/>
                  <a:pt x="11155077" y="1226280"/>
                  <a:pt x="11202536" y="1131365"/>
                </a:cubicBezTo>
                <a:lnTo>
                  <a:pt x="11384189" y="768334"/>
                </a:lnTo>
                <a:cubicBezTo>
                  <a:pt x="11423737" y="689510"/>
                  <a:pt x="11423737" y="596776"/>
                  <a:pt x="11384189" y="517950"/>
                </a:cubicBezTo>
                <a:lnTo>
                  <a:pt x="11202536" y="154922"/>
                </a:lnTo>
                <a:cubicBezTo>
                  <a:pt x="11155077" y="60005"/>
                  <a:pt x="11058254" y="0"/>
                  <a:pt x="10952151" y="0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accent1"/>
            </a:solidFill>
            <a:prstDash val="solid"/>
            <a:miter/>
          </a:ln>
          <a:effectLst>
            <a:outerShdw blurRad="127000" dist="127000" dir="5400000" algn="t" rotWithShape="0">
              <a:prstClr val="black">
                <a:alpha val="5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zh-CN" altLang="en-US" sz="2000" b="1">
              <a:gradFill>
                <a:gsLst>
                  <a:gs pos="100000">
                    <a:schemeClr val="bg1"/>
                  </a:gs>
                  <a:gs pos="54000">
                    <a:schemeClr val="bg1"/>
                  </a:gs>
                </a:gsLst>
                <a:lin ang="0" scaled="0"/>
              </a:gradFill>
              <a:latin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1828618" y="1508647"/>
            <a:ext cx="9690282" cy="101790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>
                <a:gradFill>
                  <a:gsLst>
                    <a:gs pos="80000">
                      <a:schemeClr val="tx1"/>
                    </a:gs>
                    <a:gs pos="2000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cs typeface="微软雅黑" panose="020B0503020204020204" pitchFamily="34" charset="-122"/>
              </a:rPr>
              <a:t>过敏性结膜炎与干眼症是</a:t>
            </a:r>
            <a:r>
              <a:rPr lang="zh-CN" altLang="en-US" sz="1600" b="1">
                <a:solidFill>
                  <a:srgbClr val="0971CA"/>
                </a:solidFill>
                <a:latin typeface="+mn-ea"/>
              </a:rPr>
              <a:t>高度共病、双向加重的常见眼表疾病</a:t>
            </a:r>
            <a:r>
              <a:rPr lang="zh-CN" altLang="en-US" sz="1600" b="1">
                <a:gradFill>
                  <a:gsLst>
                    <a:gs pos="80000">
                      <a:schemeClr val="tx1"/>
                    </a:gs>
                    <a:gs pos="2000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cs typeface="微软雅黑" panose="020B0503020204020204" pitchFamily="34" charset="-122"/>
              </a:rPr>
              <a:t>：过敏破坏泪膜稳定性、诱发干眼，干眼则放大过敏炎症，二者形成恶性循环，</a:t>
            </a:r>
            <a:r>
              <a:rPr lang="zh-CN" altLang="en-US" sz="1600" b="1">
                <a:solidFill>
                  <a:srgbClr val="0971CA"/>
                </a:solidFill>
                <a:latin typeface="+mn-ea"/>
              </a:rPr>
              <a:t>临床57.7%过敏患者伴显著干眼，45.3%干眼患者伴明显眼痒</a:t>
            </a:r>
            <a:r>
              <a:rPr lang="zh-CN" altLang="en-US" sz="1600" b="1">
                <a:gradFill>
                  <a:gsLst>
                    <a:gs pos="80000">
                      <a:schemeClr val="tx1"/>
                    </a:gs>
                    <a:gs pos="2000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cs typeface="微软雅黑" panose="020B0503020204020204" pitchFamily="34" charset="-122"/>
              </a:rPr>
              <a:t>，传统抗过敏滴眼液因含抗胆碱能活性，易加剧眼干，存在显著治疗矛盾</a:t>
            </a:r>
            <a:r>
              <a:rPr lang="en-US" altLang="zh-CN" sz="1600" b="1" baseline="30000">
                <a:gradFill>
                  <a:gsLst>
                    <a:gs pos="80000">
                      <a:schemeClr val="tx1"/>
                    </a:gs>
                    <a:gs pos="20000">
                      <a:schemeClr val="tx1"/>
                    </a:gs>
                  </a:gsLst>
                  <a:lin ang="0" scaled="0"/>
                </a:gradFill>
                <a:latin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</a:t>
            </a:r>
            <a:endParaRPr lang="en-US" altLang="zh-CN" sz="1600" b="1" baseline="30000">
              <a:gradFill>
                <a:gsLst>
                  <a:gs pos="80000">
                    <a:schemeClr val="tx1"/>
                  </a:gs>
                  <a:gs pos="20000">
                    <a:schemeClr val="tx1"/>
                  </a:gs>
                </a:gsLst>
                <a:lin ang="0" scaled="0"/>
              </a:gradFill>
              <a:latin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3" name="任意多边形: 形状 32"/>
          <p:cNvSpPr/>
          <p:nvPr/>
        </p:nvSpPr>
        <p:spPr>
          <a:xfrm flipH="1">
            <a:off x="389255" y="1343660"/>
            <a:ext cx="1334135" cy="1316990"/>
          </a:xfrm>
          <a:custGeom>
            <a:avLst/>
            <a:gdLst>
              <a:gd name="csX0" fmla="*/ 872660 w 1334359"/>
              <a:gd name="csY0" fmla="*/ 0 h 1286284"/>
              <a:gd name="csX1" fmla="*/ 691569 w 1334359"/>
              <a:gd name="csY1" fmla="*/ 0 h 1286284"/>
              <a:gd name="csX2" fmla="*/ 642790 w 1334359"/>
              <a:gd name="csY2" fmla="*/ 0 h 1286284"/>
              <a:gd name="csX3" fmla="*/ 461699 w 1334359"/>
              <a:gd name="csY3" fmla="*/ 0 h 1286284"/>
              <a:gd name="csX4" fmla="*/ 211314 w 1334359"/>
              <a:gd name="csY4" fmla="*/ 154922 h 1286284"/>
              <a:gd name="csX5" fmla="*/ 29661 w 1334359"/>
              <a:gd name="csY5" fmla="*/ 517950 h 1286284"/>
              <a:gd name="csX6" fmla="*/ 29661 w 1334359"/>
              <a:gd name="csY6" fmla="*/ 768334 h 1286284"/>
              <a:gd name="csX7" fmla="*/ 211314 w 1334359"/>
              <a:gd name="csY7" fmla="*/ 1131365 h 1286284"/>
              <a:gd name="csX8" fmla="*/ 461699 w 1334359"/>
              <a:gd name="csY8" fmla="*/ 1286284 h 1286284"/>
              <a:gd name="csX9" fmla="*/ 642790 w 1334359"/>
              <a:gd name="csY9" fmla="*/ 1286284 h 1286284"/>
              <a:gd name="csX10" fmla="*/ 691569 w 1334359"/>
              <a:gd name="csY10" fmla="*/ 1286284 h 1286284"/>
              <a:gd name="csX11" fmla="*/ 872660 w 1334359"/>
              <a:gd name="csY11" fmla="*/ 1286284 h 1286284"/>
              <a:gd name="csX12" fmla="*/ 1123045 w 1334359"/>
              <a:gd name="csY12" fmla="*/ 1131365 h 1286284"/>
              <a:gd name="csX13" fmla="*/ 1304698 w 1334359"/>
              <a:gd name="csY13" fmla="*/ 768334 h 1286284"/>
              <a:gd name="csX14" fmla="*/ 1304698 w 1334359"/>
              <a:gd name="csY14" fmla="*/ 517950 h 1286284"/>
              <a:gd name="csX15" fmla="*/ 1123045 w 1334359"/>
              <a:gd name="csY15" fmla="*/ 154922 h 1286284"/>
              <a:gd name="csX16" fmla="*/ 872660 w 1334359"/>
              <a:gd name="csY16" fmla="*/ 0 h 12862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334359" h="1286284">
                <a:moveTo>
                  <a:pt x="872660" y="0"/>
                </a:moveTo>
                <a:lnTo>
                  <a:pt x="691569" y="0"/>
                </a:lnTo>
                <a:lnTo>
                  <a:pt x="642790" y="0"/>
                </a:lnTo>
                <a:lnTo>
                  <a:pt x="461699" y="0"/>
                </a:lnTo>
                <a:cubicBezTo>
                  <a:pt x="355596" y="0"/>
                  <a:pt x="258773" y="60005"/>
                  <a:pt x="211314" y="154922"/>
                </a:cubicBezTo>
                <a:lnTo>
                  <a:pt x="29661" y="517950"/>
                </a:lnTo>
                <a:cubicBezTo>
                  <a:pt x="-9887" y="596776"/>
                  <a:pt x="-9887" y="689510"/>
                  <a:pt x="29661" y="768334"/>
                </a:cubicBezTo>
                <a:lnTo>
                  <a:pt x="211314" y="1131365"/>
                </a:lnTo>
                <a:cubicBezTo>
                  <a:pt x="258773" y="1226280"/>
                  <a:pt x="355596" y="1286284"/>
                  <a:pt x="461699" y="1286284"/>
                </a:cubicBezTo>
                <a:lnTo>
                  <a:pt x="642790" y="1286284"/>
                </a:lnTo>
                <a:lnTo>
                  <a:pt x="691569" y="1286284"/>
                </a:lnTo>
                <a:lnTo>
                  <a:pt x="872660" y="1286284"/>
                </a:lnTo>
                <a:cubicBezTo>
                  <a:pt x="978763" y="1286284"/>
                  <a:pt x="1075586" y="1226280"/>
                  <a:pt x="1123045" y="1131365"/>
                </a:cubicBezTo>
                <a:lnTo>
                  <a:pt x="1304698" y="768334"/>
                </a:lnTo>
                <a:cubicBezTo>
                  <a:pt x="1344246" y="689510"/>
                  <a:pt x="1344246" y="596776"/>
                  <a:pt x="1304698" y="517950"/>
                </a:cubicBezTo>
                <a:lnTo>
                  <a:pt x="1123045" y="154922"/>
                </a:lnTo>
                <a:cubicBezTo>
                  <a:pt x="1075586" y="60005"/>
                  <a:pt x="978763" y="0"/>
                  <a:pt x="872660" y="0"/>
                </a:cubicBezTo>
                <a:close/>
              </a:path>
            </a:pathLst>
          </a:custGeom>
        </p:spPr>
        <p:style>
          <a:lnRef idx="2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r>
              <a:rPr lang="zh-CN" altLang="en-US" b="1">
                <a:gradFill flip="none" rotWithShape="1">
                  <a:gsLst>
                    <a:gs pos="0">
                      <a:schemeClr val="bg1"/>
                    </a:gs>
                    <a:gs pos="52000">
                      <a:schemeClr val="bg1"/>
                    </a:gs>
                  </a:gsLst>
                  <a:lin ang="5400000" scaled="0"/>
                  <a:tileRect/>
                </a:gradFill>
              </a:rPr>
              <a:t>最新研究</a:t>
            </a:r>
            <a:endParaRPr lang="zh-CN" altLang="en-US" b="1">
              <a:gradFill flip="none" rotWithShape="1">
                <a:gsLst>
                  <a:gs pos="0">
                    <a:schemeClr val="bg1"/>
                  </a:gs>
                  <a:gs pos="52000">
                    <a:schemeClr val="bg1"/>
                  </a:gs>
                </a:gsLst>
                <a:lin ang="5400000" scaled="0"/>
                <a:tileRect/>
              </a:gra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0" y="2840355"/>
            <a:ext cx="12192000" cy="1051359"/>
          </a:xfrm>
          <a:prstGeom prst="rect">
            <a:avLst/>
          </a:prstGeom>
        </p:spPr>
        <p:style>
          <a:lnRef idx="2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1687269" y="3375832"/>
            <a:ext cx="88174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过敏性结膜炎和干眼二者形成 </a:t>
            </a:r>
            <a:r>
              <a:rPr lang="zh-CN" altLang="en-US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“过敏→泪膜不稳→干眼→过敏加重”</a:t>
            </a:r>
            <a:r>
              <a:rPr lang="zh-CN" altLang="en-US"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恶性循环</a:t>
            </a:r>
            <a:endParaRPr lang="zh-CN" altLang="en-US" sz="1400" b="1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682490" y="2955290"/>
            <a:ext cx="2985135" cy="398774"/>
            <a:chOff x="7517" y="4294"/>
            <a:chExt cx="4165" cy="673"/>
          </a:xfrm>
        </p:grpSpPr>
        <p:sp>
          <p:nvSpPr>
            <p:cNvPr id="36" name="文本框 35"/>
            <p:cNvSpPr txBox="1"/>
            <p:nvPr/>
          </p:nvSpPr>
          <p:spPr>
            <a:xfrm>
              <a:off x="8566" y="4294"/>
              <a:ext cx="2068" cy="6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疾病负担</a:t>
              </a:r>
              <a:endParaRPr lang="zh-CN" altLang="en-US" sz="20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37" name="组合 36"/>
            <p:cNvGrpSpPr/>
            <p:nvPr/>
          </p:nvGrpSpPr>
          <p:grpSpPr>
            <a:xfrm>
              <a:off x="7517" y="4616"/>
              <a:ext cx="4165" cy="0"/>
              <a:chOff x="4700905" y="3043610"/>
              <a:chExt cx="2645044" cy="0"/>
            </a:xfrm>
          </p:grpSpPr>
          <p:cxnSp>
            <p:nvCxnSpPr>
              <p:cNvPr id="38" name="直接连接符 37"/>
              <p:cNvCxnSpPr/>
              <p:nvPr/>
            </p:nvCxnSpPr>
            <p:spPr>
              <a:xfrm>
                <a:off x="6552987" y="3043610"/>
                <a:ext cx="792962" cy="0"/>
              </a:xfrm>
              <a:prstGeom prst="line">
                <a:avLst/>
              </a:prstGeom>
              <a:ln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 flipH="1">
                <a:off x="4700905" y="3043610"/>
                <a:ext cx="792962" cy="0"/>
              </a:xfrm>
              <a:prstGeom prst="line">
                <a:avLst/>
              </a:prstGeom>
              <a:ln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" name="组合 3"/>
          <p:cNvGrpSpPr/>
          <p:nvPr/>
        </p:nvGrpSpPr>
        <p:grpSpPr>
          <a:xfrm>
            <a:off x="4752975" y="3985895"/>
            <a:ext cx="2846070" cy="398780"/>
            <a:chOff x="4773478" y="3744690"/>
            <a:chExt cx="2645044" cy="299032"/>
          </a:xfrm>
        </p:grpSpPr>
        <p:sp>
          <p:nvSpPr>
            <p:cNvPr id="40" name="文本框 39"/>
            <p:cNvSpPr txBox="1"/>
            <p:nvPr/>
          </p:nvSpPr>
          <p:spPr>
            <a:xfrm>
              <a:off x="5439508" y="3744690"/>
              <a:ext cx="1312984" cy="2990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>
                  <a:solidFill>
                    <a:srgbClr val="0971C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研发历程</a:t>
              </a:r>
              <a:endParaRPr lang="zh-CN" altLang="en-US" sz="2000" b="1">
                <a:solidFill>
                  <a:srgbClr val="0971C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41" name="组合 40"/>
            <p:cNvGrpSpPr/>
            <p:nvPr/>
          </p:nvGrpSpPr>
          <p:grpSpPr>
            <a:xfrm>
              <a:off x="4773478" y="3902732"/>
              <a:ext cx="2645044" cy="0"/>
              <a:chOff x="4700905" y="3043610"/>
              <a:chExt cx="2645044" cy="0"/>
            </a:xfrm>
          </p:grpSpPr>
          <p:cxnSp>
            <p:nvCxnSpPr>
              <p:cNvPr id="42" name="直接连接符 41"/>
              <p:cNvCxnSpPr/>
              <p:nvPr/>
            </p:nvCxnSpPr>
            <p:spPr>
              <a:xfrm>
                <a:off x="6552987" y="3043610"/>
                <a:ext cx="792962" cy="0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/>
              <p:nvPr/>
            </p:nvCxnSpPr>
            <p:spPr>
              <a:xfrm flipH="1">
                <a:off x="4700905" y="3043610"/>
                <a:ext cx="792962" cy="0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0" name="组合 69"/>
          <p:cNvGrpSpPr/>
          <p:nvPr/>
        </p:nvGrpSpPr>
        <p:grpSpPr>
          <a:xfrm>
            <a:off x="389076" y="3033613"/>
            <a:ext cx="1533163" cy="664843"/>
            <a:chOff x="446609" y="2796758"/>
            <a:chExt cx="1533163" cy="664843"/>
          </a:xfrm>
        </p:grpSpPr>
        <p:pic>
          <p:nvPicPr>
            <p:cNvPr id="68" name="图片 67"/>
            <p:cNvPicPr>
              <a:picLocks noChangeAspect="1"/>
            </p:cNvPicPr>
            <p:nvPr/>
          </p:nvPicPr>
          <p:blipFill>
            <a:blip r:embed="rId1"/>
            <a:srcRect l="6245" t="5950" r="56481" b="64624"/>
            <a:stretch>
              <a:fillRect/>
            </a:stretch>
          </p:blipFill>
          <p:spPr>
            <a:xfrm>
              <a:off x="446609" y="2796758"/>
              <a:ext cx="665955" cy="664843"/>
            </a:xfrm>
            <a:custGeom>
              <a:avLst/>
              <a:gdLst>
                <a:gd name="connsiteX0" fmla="*/ 549350 w 1098700"/>
                <a:gd name="connsiteY0" fmla="*/ 0 h 1098700"/>
                <a:gd name="connsiteX1" fmla="*/ 1098700 w 1098700"/>
                <a:gd name="connsiteY1" fmla="*/ 549350 h 1098700"/>
                <a:gd name="connsiteX2" fmla="*/ 549350 w 1098700"/>
                <a:gd name="connsiteY2" fmla="*/ 1098700 h 1098700"/>
                <a:gd name="connsiteX3" fmla="*/ 0 w 1098700"/>
                <a:gd name="connsiteY3" fmla="*/ 549350 h 1098700"/>
                <a:gd name="connsiteX4" fmla="*/ 549350 w 1098700"/>
                <a:gd name="connsiteY4" fmla="*/ 0 h 10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8700" h="1098700">
                  <a:moveTo>
                    <a:pt x="549350" y="0"/>
                  </a:moveTo>
                  <a:cubicBezTo>
                    <a:pt x="852748" y="0"/>
                    <a:pt x="1098700" y="245952"/>
                    <a:pt x="1098700" y="549350"/>
                  </a:cubicBezTo>
                  <a:cubicBezTo>
                    <a:pt x="1098700" y="852748"/>
                    <a:pt x="852748" y="1098700"/>
                    <a:pt x="549350" y="1098700"/>
                  </a:cubicBezTo>
                  <a:cubicBezTo>
                    <a:pt x="245952" y="1098700"/>
                    <a:pt x="0" y="852748"/>
                    <a:pt x="0" y="549350"/>
                  </a:cubicBezTo>
                  <a:cubicBezTo>
                    <a:pt x="0" y="245952"/>
                    <a:pt x="245952" y="0"/>
                    <a:pt x="549350" y="0"/>
                  </a:cubicBezTo>
                  <a:close/>
                </a:path>
              </a:pathLst>
            </a:custGeom>
            <a:ln w="6350">
              <a:solidFill>
                <a:schemeClr val="bg1"/>
              </a:solidFill>
            </a:ln>
          </p:spPr>
        </p:pic>
        <p:pic>
          <p:nvPicPr>
            <p:cNvPr id="69" name="图片 68"/>
            <p:cNvPicPr>
              <a:picLocks noChangeAspect="1"/>
            </p:cNvPicPr>
            <p:nvPr/>
          </p:nvPicPr>
          <p:blipFill>
            <a:blip r:embed="rId1"/>
            <a:srcRect l="57974" t="5950" r="4752" b="64624"/>
            <a:stretch>
              <a:fillRect/>
            </a:stretch>
          </p:blipFill>
          <p:spPr>
            <a:xfrm>
              <a:off x="1313817" y="2796758"/>
              <a:ext cx="665955" cy="664843"/>
            </a:xfrm>
            <a:custGeom>
              <a:avLst/>
              <a:gdLst>
                <a:gd name="connsiteX0" fmla="*/ 549350 w 1098700"/>
                <a:gd name="connsiteY0" fmla="*/ 0 h 1098700"/>
                <a:gd name="connsiteX1" fmla="*/ 1098700 w 1098700"/>
                <a:gd name="connsiteY1" fmla="*/ 549350 h 1098700"/>
                <a:gd name="connsiteX2" fmla="*/ 549350 w 1098700"/>
                <a:gd name="connsiteY2" fmla="*/ 1098700 h 1098700"/>
                <a:gd name="connsiteX3" fmla="*/ 0 w 1098700"/>
                <a:gd name="connsiteY3" fmla="*/ 549350 h 1098700"/>
                <a:gd name="connsiteX4" fmla="*/ 549350 w 1098700"/>
                <a:gd name="connsiteY4" fmla="*/ 0 h 10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8700" h="1098700">
                  <a:moveTo>
                    <a:pt x="549350" y="0"/>
                  </a:moveTo>
                  <a:cubicBezTo>
                    <a:pt x="852748" y="0"/>
                    <a:pt x="1098700" y="245952"/>
                    <a:pt x="1098700" y="549350"/>
                  </a:cubicBezTo>
                  <a:cubicBezTo>
                    <a:pt x="1098700" y="852748"/>
                    <a:pt x="852748" y="1098700"/>
                    <a:pt x="549350" y="1098700"/>
                  </a:cubicBezTo>
                  <a:cubicBezTo>
                    <a:pt x="245952" y="1098700"/>
                    <a:pt x="0" y="852748"/>
                    <a:pt x="0" y="549350"/>
                  </a:cubicBezTo>
                  <a:cubicBezTo>
                    <a:pt x="0" y="245952"/>
                    <a:pt x="245952" y="0"/>
                    <a:pt x="549350" y="0"/>
                  </a:cubicBezTo>
                  <a:close/>
                </a:path>
              </a:pathLst>
            </a:custGeom>
            <a:ln w="6350">
              <a:solidFill>
                <a:schemeClr val="bg1"/>
              </a:solidFill>
            </a:ln>
          </p:spPr>
        </p:pic>
      </p:grpSp>
      <p:grpSp>
        <p:nvGrpSpPr>
          <p:cNvPr id="72" name="组合 71"/>
          <p:cNvGrpSpPr/>
          <p:nvPr/>
        </p:nvGrpSpPr>
        <p:grpSpPr>
          <a:xfrm>
            <a:off x="10297770" y="3033613"/>
            <a:ext cx="1505155" cy="664843"/>
            <a:chOff x="6066174" y="3148758"/>
            <a:chExt cx="1505155" cy="664843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1"/>
            <a:srcRect l="5667" t="56273" r="57060" b="14301"/>
            <a:stretch>
              <a:fillRect/>
            </a:stretch>
          </p:blipFill>
          <p:spPr>
            <a:xfrm>
              <a:off x="6066174" y="3148758"/>
              <a:ext cx="665954" cy="664843"/>
            </a:xfrm>
            <a:custGeom>
              <a:avLst/>
              <a:gdLst>
                <a:gd name="connsiteX0" fmla="*/ 549350 w 1098700"/>
                <a:gd name="connsiteY0" fmla="*/ 0 h 1098700"/>
                <a:gd name="connsiteX1" fmla="*/ 1098700 w 1098700"/>
                <a:gd name="connsiteY1" fmla="*/ 549350 h 1098700"/>
                <a:gd name="connsiteX2" fmla="*/ 549350 w 1098700"/>
                <a:gd name="connsiteY2" fmla="*/ 1098700 h 1098700"/>
                <a:gd name="connsiteX3" fmla="*/ 0 w 1098700"/>
                <a:gd name="connsiteY3" fmla="*/ 549350 h 1098700"/>
                <a:gd name="connsiteX4" fmla="*/ 549350 w 1098700"/>
                <a:gd name="connsiteY4" fmla="*/ 0 h 10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8700" h="1098700">
                  <a:moveTo>
                    <a:pt x="549350" y="0"/>
                  </a:moveTo>
                  <a:cubicBezTo>
                    <a:pt x="852748" y="0"/>
                    <a:pt x="1098700" y="245952"/>
                    <a:pt x="1098700" y="549350"/>
                  </a:cubicBezTo>
                  <a:cubicBezTo>
                    <a:pt x="1098700" y="852748"/>
                    <a:pt x="852748" y="1098700"/>
                    <a:pt x="549350" y="1098700"/>
                  </a:cubicBezTo>
                  <a:cubicBezTo>
                    <a:pt x="245952" y="1098700"/>
                    <a:pt x="0" y="852748"/>
                    <a:pt x="0" y="549350"/>
                  </a:cubicBezTo>
                  <a:cubicBezTo>
                    <a:pt x="0" y="245952"/>
                    <a:pt x="245952" y="0"/>
                    <a:pt x="549350" y="0"/>
                  </a:cubicBezTo>
                  <a:close/>
                </a:path>
              </a:pathLst>
            </a:custGeom>
            <a:ln w="6350">
              <a:solidFill>
                <a:schemeClr val="bg1"/>
              </a:solidFill>
            </a:ln>
          </p:spPr>
        </p:pic>
        <p:pic>
          <p:nvPicPr>
            <p:cNvPr id="74" name="图片 73"/>
            <p:cNvPicPr>
              <a:picLocks noChangeAspect="1"/>
            </p:cNvPicPr>
            <p:nvPr/>
          </p:nvPicPr>
          <p:blipFill>
            <a:blip r:embed="rId1"/>
            <a:srcRect l="57424" t="56273" r="5303" b="14301"/>
            <a:stretch>
              <a:fillRect/>
            </a:stretch>
          </p:blipFill>
          <p:spPr>
            <a:xfrm>
              <a:off x="6905375" y="3148758"/>
              <a:ext cx="665954" cy="664843"/>
            </a:xfrm>
            <a:custGeom>
              <a:avLst/>
              <a:gdLst>
                <a:gd name="connsiteX0" fmla="*/ 549350 w 1098700"/>
                <a:gd name="connsiteY0" fmla="*/ 0 h 1098700"/>
                <a:gd name="connsiteX1" fmla="*/ 1098700 w 1098700"/>
                <a:gd name="connsiteY1" fmla="*/ 549350 h 1098700"/>
                <a:gd name="connsiteX2" fmla="*/ 549350 w 1098700"/>
                <a:gd name="connsiteY2" fmla="*/ 1098700 h 1098700"/>
                <a:gd name="connsiteX3" fmla="*/ 0 w 1098700"/>
                <a:gd name="connsiteY3" fmla="*/ 549350 h 1098700"/>
                <a:gd name="connsiteX4" fmla="*/ 549350 w 1098700"/>
                <a:gd name="connsiteY4" fmla="*/ 0 h 10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8700" h="1098700">
                  <a:moveTo>
                    <a:pt x="549350" y="0"/>
                  </a:moveTo>
                  <a:cubicBezTo>
                    <a:pt x="852748" y="0"/>
                    <a:pt x="1098700" y="245952"/>
                    <a:pt x="1098700" y="549350"/>
                  </a:cubicBezTo>
                  <a:cubicBezTo>
                    <a:pt x="1098700" y="852748"/>
                    <a:pt x="852748" y="1098700"/>
                    <a:pt x="549350" y="1098700"/>
                  </a:cubicBezTo>
                  <a:cubicBezTo>
                    <a:pt x="245952" y="1098700"/>
                    <a:pt x="0" y="852748"/>
                    <a:pt x="0" y="549350"/>
                  </a:cubicBezTo>
                  <a:cubicBezTo>
                    <a:pt x="0" y="245952"/>
                    <a:pt x="245952" y="0"/>
                    <a:pt x="549350" y="0"/>
                  </a:cubicBezTo>
                  <a:close/>
                </a:path>
              </a:pathLst>
            </a:custGeom>
            <a:ln w="6350">
              <a:solidFill>
                <a:schemeClr val="bg1"/>
              </a:solidFill>
            </a:ln>
          </p:spPr>
        </p:pic>
      </p:grpSp>
      <p:grpSp>
        <p:nvGrpSpPr>
          <p:cNvPr id="85" name="组合 84"/>
          <p:cNvGrpSpPr/>
          <p:nvPr>
            <p:custDataLst>
              <p:tags r:id="rId2"/>
            </p:custDataLst>
          </p:nvPr>
        </p:nvGrpSpPr>
        <p:grpSpPr>
          <a:xfrm>
            <a:off x="472522" y="4547067"/>
            <a:ext cx="11240787" cy="1648460"/>
            <a:chOff x="474427" y="4397471"/>
            <a:chExt cx="11240787" cy="1648460"/>
          </a:xfrm>
        </p:grpSpPr>
        <p:grpSp>
          <p:nvGrpSpPr>
            <p:cNvPr id="22" name="组合 21"/>
            <p:cNvGrpSpPr/>
            <p:nvPr/>
          </p:nvGrpSpPr>
          <p:grpSpPr>
            <a:xfrm>
              <a:off x="474427" y="4397471"/>
              <a:ext cx="2689679" cy="1647825"/>
              <a:chOff x="722053" y="4397471"/>
              <a:chExt cx="2689679" cy="1647825"/>
            </a:xfrm>
          </p:grpSpPr>
          <p:grpSp>
            <p:nvGrpSpPr>
              <p:cNvPr id="7" name="组合 6"/>
              <p:cNvGrpSpPr/>
              <p:nvPr/>
            </p:nvGrpSpPr>
            <p:grpSpPr>
              <a:xfrm>
                <a:off x="723778" y="4397471"/>
                <a:ext cx="2687954" cy="1647825"/>
                <a:chOff x="509684" y="4356446"/>
                <a:chExt cx="2623569" cy="1647825"/>
              </a:xfrm>
            </p:grpSpPr>
            <p:sp>
              <p:nvSpPr>
                <p:cNvPr id="8" name="任意多边形: 形状 7"/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509684" y="4356446"/>
                  <a:ext cx="1177586" cy="344736"/>
                </a:xfrm>
                <a:custGeom>
                  <a:avLst/>
                  <a:gdLst>
                    <a:gd name="csX0" fmla="*/ 0 w 1378013"/>
                    <a:gd name="csY0" fmla="*/ 0 h 344736"/>
                    <a:gd name="csX1" fmla="*/ 430842 w 1378013"/>
                    <a:gd name="csY1" fmla="*/ 0 h 344736"/>
                    <a:gd name="csX2" fmla="*/ 794605 w 1378013"/>
                    <a:gd name="csY2" fmla="*/ 0 h 344736"/>
                    <a:gd name="csX3" fmla="*/ 1225447 w 1378013"/>
                    <a:gd name="csY3" fmla="*/ 0 h 344736"/>
                    <a:gd name="csX4" fmla="*/ 1265887 w 1378013"/>
                    <a:gd name="csY4" fmla="*/ 18944 h 344736"/>
                    <a:gd name="csX5" fmla="*/ 1365770 w 1378013"/>
                    <a:gd name="csY5" fmla="*/ 138655 h 344736"/>
                    <a:gd name="csX6" fmla="*/ 1365770 w 1378013"/>
                    <a:gd name="csY6" fmla="*/ 206144 h 344736"/>
                    <a:gd name="csX7" fmla="*/ 1265887 w 1378013"/>
                    <a:gd name="csY7" fmla="*/ 325792 h 344736"/>
                    <a:gd name="csX8" fmla="*/ 1225447 w 1378013"/>
                    <a:gd name="csY8" fmla="*/ 344736 h 344736"/>
                    <a:gd name="csX9" fmla="*/ 794605 w 1378013"/>
                    <a:gd name="csY9" fmla="*/ 344736 h 344736"/>
                    <a:gd name="csX10" fmla="*/ 430842 w 1378013"/>
                    <a:gd name="csY10" fmla="*/ 344736 h 344736"/>
                    <a:gd name="csX11" fmla="*/ 0 w 1378013"/>
                    <a:gd name="csY11" fmla="*/ 344736 h 3447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</a:cxnLst>
                  <a:rect l="l" t="t" r="r" b="b"/>
                  <a:pathLst>
                    <a:path w="1378013" h="344736">
                      <a:moveTo>
                        <a:pt x="0" y="0"/>
                      </a:moveTo>
                      <a:lnTo>
                        <a:pt x="430842" y="0"/>
                      </a:lnTo>
                      <a:lnTo>
                        <a:pt x="794605" y="0"/>
                      </a:lnTo>
                      <a:lnTo>
                        <a:pt x="1225447" y="0"/>
                      </a:lnTo>
                      <a:cubicBezTo>
                        <a:pt x="1241086" y="0"/>
                        <a:pt x="1255854" y="6918"/>
                        <a:pt x="1265887" y="18944"/>
                      </a:cubicBezTo>
                      <a:lnTo>
                        <a:pt x="1365770" y="138655"/>
                      </a:lnTo>
                      <a:cubicBezTo>
                        <a:pt x="1382095" y="158222"/>
                        <a:pt x="1382095" y="186639"/>
                        <a:pt x="1365770" y="206144"/>
                      </a:cubicBezTo>
                      <a:lnTo>
                        <a:pt x="1265887" y="325792"/>
                      </a:lnTo>
                      <a:cubicBezTo>
                        <a:pt x="1255854" y="337819"/>
                        <a:pt x="1241025" y="344736"/>
                        <a:pt x="1225447" y="344736"/>
                      </a:cubicBezTo>
                      <a:lnTo>
                        <a:pt x="794605" y="344736"/>
                      </a:lnTo>
                      <a:lnTo>
                        <a:pt x="430842" y="344736"/>
                      </a:lnTo>
                      <a:lnTo>
                        <a:pt x="0" y="344736"/>
                      </a:lnTo>
                      <a:close/>
                    </a:path>
                  </a:pathLst>
                </a:custGeom>
              </p:spPr>
              <p:style>
                <a:lnRef idx="0">
                  <a:srgbClr val="FFFFFF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anchor="ctr">
                  <a:noAutofit/>
                </a:bodyPr>
                <a:lstStyle/>
                <a:p>
                  <a:pPr algn="ctr"/>
                  <a:r>
                    <a:rPr lang="zh-CN" altLang="en-US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2014年</a:t>
                  </a:r>
                  <a:endParaRPr lang="zh-CN" altLang="en-US" sz="1400" b="1">
                    <a:gradFill>
                      <a:gsLst>
                        <a:gs pos="100000">
                          <a:schemeClr val="bg1"/>
                        </a:gs>
                        <a:gs pos="0">
                          <a:schemeClr val="bg1"/>
                        </a:gs>
                      </a:gsLst>
                      <a:lin ang="0" scaled="0"/>
                    </a:gradFill>
                  </a:endParaRPr>
                </a:p>
              </p:txBody>
            </p:sp>
            <p:sp>
              <p:nvSpPr>
                <p:cNvPr id="10" name="文本框 9"/>
                <p:cNvSpPr txBox="1"/>
                <p:nvPr>
                  <p:custDataLst>
                    <p:tags r:id="rId4"/>
                  </p:custDataLst>
                </p:nvPr>
              </p:nvSpPr>
              <p:spPr>
                <a:xfrm>
                  <a:off x="665251" y="4771101"/>
                  <a:ext cx="2468002" cy="1233170"/>
                </a:xfrm>
                <a:prstGeom prst="roundRect">
                  <a:avLst>
                    <a:gd name="adj" fmla="val 3459"/>
                  </a:avLst>
                </a:prstGeom>
                <a:gradFill>
                  <a:gsLst>
                    <a:gs pos="61000">
                      <a:srgbClr val="0971CA">
                        <a:alpha val="5000"/>
                      </a:srgbClr>
                    </a:gs>
                    <a:gs pos="0">
                      <a:srgbClr val="0971CA">
                        <a:alpha val="0"/>
                      </a:srgbClr>
                    </a:gs>
                  </a:gsLst>
                  <a:lin ang="0" scaled="0"/>
                </a:gradFill>
                <a:ln w="6350">
                  <a:gradFill>
                    <a:gsLst>
                      <a:gs pos="57000">
                        <a:srgbClr val="0971CA">
                          <a:alpha val="0"/>
                        </a:srgbClr>
                      </a:gs>
                      <a:gs pos="100000">
                        <a:srgbClr val="0971CA"/>
                      </a:gs>
                    </a:gsLst>
                    <a:lin ang="2700000" scaled="0"/>
                  </a:gradFill>
                </a:ln>
              </p:spPr>
              <p:txBody>
                <a:bodyPr wrap="square">
                  <a:noAutofit/>
                </a:bodyPr>
                <a:lstStyle/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zh-CN" altLang="en-US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法国眼科公司</a:t>
                  </a:r>
                  <a:r>
                    <a:rPr lang="en-US" altLang="zh-CN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Nicox</a:t>
                  </a:r>
                  <a:r>
                    <a:rPr lang="zh-CN" altLang="en-US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创新性引入</a:t>
                  </a:r>
                  <a:r>
                    <a:rPr lang="zh-CN" altLang="en-US" sz="1200" b="1">
                      <a:solidFill>
                        <a:srgbClr val="0971CA"/>
                      </a:solidFill>
                      <a:latin typeface="+mn-ea"/>
                    </a:rPr>
                    <a:t>胶束递送技术</a:t>
                  </a:r>
                  <a:r>
                    <a:rPr lang="zh-CN" altLang="en-US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进行眼用制剂开发（专利</a:t>
                  </a:r>
                  <a:r>
                    <a:rPr lang="en-US" altLang="zh-CN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US9254286B2</a:t>
                  </a:r>
                  <a:r>
                    <a:rPr lang="zh-CN" altLang="en-US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），实现了独特的“抗过敏</a:t>
                  </a:r>
                  <a:r>
                    <a:rPr lang="en-US" altLang="zh-CN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+</a:t>
                  </a:r>
                  <a:r>
                    <a:rPr lang="zh-CN" altLang="en-US" sz="1200" b="1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润眼”双重作用</a:t>
                  </a:r>
                  <a:endParaRPr lang="zh-CN" altLang="en-US" sz="1200" b="1">
                    <a:gradFill>
                      <a:gsLst>
                        <a:gs pos="80000">
                          <a:schemeClr val="tx1"/>
                        </a:gs>
                        <a:gs pos="20000">
                          <a:schemeClr val="tx1"/>
                        </a:gs>
                      </a:gsLst>
                      <a:lin ang="0" scaled="0"/>
                    </a:gradFill>
                    <a:latin typeface="+mn-ea"/>
                    <a:cs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1" name="组合 20"/>
              <p:cNvGrpSpPr/>
              <p:nvPr/>
            </p:nvGrpSpPr>
            <p:grpSpPr>
              <a:xfrm>
                <a:off x="722053" y="4397471"/>
                <a:ext cx="102200" cy="1647729"/>
                <a:chOff x="722053" y="4397471"/>
                <a:chExt cx="102200" cy="1647729"/>
              </a:xfrm>
            </p:grpSpPr>
            <p:cxnSp>
              <p:nvCxnSpPr>
                <p:cNvPr id="15" name="直接连接符 14"/>
                <p:cNvCxnSpPr/>
                <p:nvPr>
                  <p:custDataLst>
                    <p:tags r:id="rId5"/>
                  </p:custDataLst>
                </p:nvPr>
              </p:nvCxnSpPr>
              <p:spPr>
                <a:xfrm>
                  <a:off x="722053" y="4397471"/>
                  <a:ext cx="0" cy="1529278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/>
                <p:nvPr>
                  <p:custDataLst>
                    <p:tags r:id="rId6"/>
                  </p:custDataLst>
                </p:nvPr>
              </p:nvCxnSpPr>
              <p:spPr>
                <a:xfrm flipH="1" flipV="1">
                  <a:off x="722053" y="5926749"/>
                  <a:ext cx="102200" cy="118451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5" name="组合 54"/>
            <p:cNvGrpSpPr/>
            <p:nvPr/>
          </p:nvGrpSpPr>
          <p:grpSpPr>
            <a:xfrm>
              <a:off x="3324986" y="4397471"/>
              <a:ext cx="2689679" cy="1647825"/>
              <a:chOff x="722053" y="4397471"/>
              <a:chExt cx="2689679" cy="1647825"/>
            </a:xfrm>
          </p:grpSpPr>
          <p:grpSp>
            <p:nvGrpSpPr>
              <p:cNvPr id="56" name="组合 55"/>
              <p:cNvGrpSpPr/>
              <p:nvPr/>
            </p:nvGrpSpPr>
            <p:grpSpPr>
              <a:xfrm>
                <a:off x="723778" y="4397471"/>
                <a:ext cx="2687954" cy="1647825"/>
                <a:chOff x="509684" y="4356446"/>
                <a:chExt cx="2623569" cy="1647825"/>
              </a:xfrm>
            </p:grpSpPr>
            <p:sp>
              <p:nvSpPr>
                <p:cNvPr id="60" name="任意多边形: 形状 59"/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509684" y="4356446"/>
                  <a:ext cx="1177586" cy="344736"/>
                </a:xfrm>
                <a:custGeom>
                  <a:avLst/>
                  <a:gdLst>
                    <a:gd name="csX0" fmla="*/ 0 w 1378013"/>
                    <a:gd name="csY0" fmla="*/ 0 h 344736"/>
                    <a:gd name="csX1" fmla="*/ 430842 w 1378013"/>
                    <a:gd name="csY1" fmla="*/ 0 h 344736"/>
                    <a:gd name="csX2" fmla="*/ 794605 w 1378013"/>
                    <a:gd name="csY2" fmla="*/ 0 h 344736"/>
                    <a:gd name="csX3" fmla="*/ 1225447 w 1378013"/>
                    <a:gd name="csY3" fmla="*/ 0 h 344736"/>
                    <a:gd name="csX4" fmla="*/ 1265887 w 1378013"/>
                    <a:gd name="csY4" fmla="*/ 18944 h 344736"/>
                    <a:gd name="csX5" fmla="*/ 1365770 w 1378013"/>
                    <a:gd name="csY5" fmla="*/ 138655 h 344736"/>
                    <a:gd name="csX6" fmla="*/ 1365770 w 1378013"/>
                    <a:gd name="csY6" fmla="*/ 206144 h 344736"/>
                    <a:gd name="csX7" fmla="*/ 1265887 w 1378013"/>
                    <a:gd name="csY7" fmla="*/ 325792 h 344736"/>
                    <a:gd name="csX8" fmla="*/ 1225447 w 1378013"/>
                    <a:gd name="csY8" fmla="*/ 344736 h 344736"/>
                    <a:gd name="csX9" fmla="*/ 794605 w 1378013"/>
                    <a:gd name="csY9" fmla="*/ 344736 h 344736"/>
                    <a:gd name="csX10" fmla="*/ 430842 w 1378013"/>
                    <a:gd name="csY10" fmla="*/ 344736 h 344736"/>
                    <a:gd name="csX11" fmla="*/ 0 w 1378013"/>
                    <a:gd name="csY11" fmla="*/ 344736 h 3447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</a:cxnLst>
                  <a:rect l="l" t="t" r="r" b="b"/>
                  <a:pathLst>
                    <a:path w="1378013" h="344736">
                      <a:moveTo>
                        <a:pt x="0" y="0"/>
                      </a:moveTo>
                      <a:lnTo>
                        <a:pt x="430842" y="0"/>
                      </a:lnTo>
                      <a:lnTo>
                        <a:pt x="794605" y="0"/>
                      </a:lnTo>
                      <a:lnTo>
                        <a:pt x="1225447" y="0"/>
                      </a:lnTo>
                      <a:cubicBezTo>
                        <a:pt x="1241086" y="0"/>
                        <a:pt x="1255854" y="6918"/>
                        <a:pt x="1265887" y="18944"/>
                      </a:cubicBezTo>
                      <a:lnTo>
                        <a:pt x="1365770" y="138655"/>
                      </a:lnTo>
                      <a:cubicBezTo>
                        <a:pt x="1382095" y="158222"/>
                        <a:pt x="1382095" y="186639"/>
                        <a:pt x="1365770" y="206144"/>
                      </a:cubicBezTo>
                      <a:lnTo>
                        <a:pt x="1265887" y="325792"/>
                      </a:lnTo>
                      <a:cubicBezTo>
                        <a:pt x="1255854" y="337819"/>
                        <a:pt x="1241025" y="344736"/>
                        <a:pt x="1225447" y="344736"/>
                      </a:cubicBezTo>
                      <a:lnTo>
                        <a:pt x="794605" y="344736"/>
                      </a:lnTo>
                      <a:lnTo>
                        <a:pt x="430842" y="344736"/>
                      </a:lnTo>
                      <a:lnTo>
                        <a:pt x="0" y="344736"/>
                      </a:lnTo>
                      <a:close/>
                    </a:path>
                  </a:pathLst>
                </a:custGeom>
              </p:spPr>
              <p:style>
                <a:lnRef idx="0">
                  <a:srgbClr val="FFFFFF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anchor="ctr">
                  <a:noAutofit/>
                </a:bodyPr>
                <a:lstStyle/>
                <a:p>
                  <a:pPr algn="ctr"/>
                  <a:r>
                    <a:rPr lang="en-US" altLang="zh-CN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2017</a:t>
                  </a:r>
                  <a:r>
                    <a:rPr lang="zh-CN" altLang="en-US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年</a:t>
                  </a:r>
                  <a:endParaRPr lang="zh-CN" altLang="en-US" sz="1400" b="1">
                    <a:gradFill>
                      <a:gsLst>
                        <a:gs pos="100000">
                          <a:schemeClr val="bg1"/>
                        </a:gs>
                        <a:gs pos="0">
                          <a:schemeClr val="bg1"/>
                        </a:gs>
                      </a:gsLst>
                      <a:lin ang="0" scaled="0"/>
                    </a:gradFill>
                  </a:endParaRPr>
                </a:p>
              </p:txBody>
            </p:sp>
            <p:sp>
              <p:nvSpPr>
                <p:cNvPr id="61" name="文本框 60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665251" y="4771736"/>
                  <a:ext cx="2468002" cy="1232535"/>
                </a:xfrm>
                <a:prstGeom prst="roundRect">
                  <a:avLst>
                    <a:gd name="adj" fmla="val 3459"/>
                  </a:avLst>
                </a:prstGeom>
                <a:gradFill>
                  <a:gsLst>
                    <a:gs pos="61000">
                      <a:srgbClr val="0971CA">
                        <a:alpha val="5000"/>
                      </a:srgbClr>
                    </a:gs>
                    <a:gs pos="0">
                      <a:srgbClr val="0971CA">
                        <a:alpha val="0"/>
                      </a:srgbClr>
                    </a:gs>
                  </a:gsLst>
                  <a:lin ang="0" scaled="0"/>
                </a:gradFill>
                <a:ln w="6350">
                  <a:gradFill>
                    <a:gsLst>
                      <a:gs pos="57000">
                        <a:srgbClr val="0971CA">
                          <a:alpha val="0"/>
                        </a:srgbClr>
                      </a:gs>
                      <a:gs pos="100000">
                        <a:srgbClr val="0971CA"/>
                      </a:gs>
                    </a:gsLst>
                    <a:lin ang="2700000" scaled="0"/>
                  </a:gradFill>
                </a:ln>
              </p:spPr>
              <p:txBody>
                <a:bodyPr wrap="square">
                  <a:noAutofit/>
                </a:bodyPr>
                <a:lstStyle/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zh-CN" altLang="en-US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盐酸西替利嗪滴眼液获</a:t>
                  </a:r>
                  <a:r>
                    <a:rPr lang="en-US" altLang="zh-CN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FDA</a:t>
                  </a:r>
                  <a:r>
                    <a:rPr lang="zh-CN" altLang="en-US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批准，成为</a:t>
                  </a:r>
                  <a:r>
                    <a:rPr lang="zh-CN" altLang="en-US" sz="1200" b="1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时隔十年</a:t>
                  </a:r>
                  <a:r>
                    <a:rPr lang="en-US" altLang="zh-CN" sz="1200" b="1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FDA</a:t>
                  </a:r>
                  <a:r>
                    <a:rPr lang="zh-CN" altLang="en-US" sz="1200" b="1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获批的全新分子滴眼液</a:t>
                  </a:r>
                  <a:r>
                    <a:rPr lang="zh-CN" altLang="en-US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，且唯一可用于</a:t>
                  </a:r>
                  <a:r>
                    <a:rPr lang="en-US" altLang="zh-CN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2</a:t>
                  </a:r>
                  <a:r>
                    <a:rPr lang="zh-CN" altLang="en-US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岁及以上</a:t>
                  </a:r>
                  <a:r>
                    <a:rPr lang="zh-CN" altLang="en-US" sz="1200" b="1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幼儿的抗过敏滴眼液</a:t>
                  </a:r>
                  <a:endParaRPr lang="zh-CN" altLang="en-US" sz="1200" b="1">
                    <a:solidFill>
                      <a:schemeClr val="tx1"/>
                    </a:solidFill>
                    <a:latin typeface="+mn-ea"/>
                    <a:cs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57" name="组合 56"/>
              <p:cNvGrpSpPr/>
              <p:nvPr/>
            </p:nvGrpSpPr>
            <p:grpSpPr>
              <a:xfrm>
                <a:off x="722053" y="4397471"/>
                <a:ext cx="102200" cy="1647729"/>
                <a:chOff x="722053" y="4397471"/>
                <a:chExt cx="102200" cy="1647729"/>
              </a:xfrm>
            </p:grpSpPr>
            <p:cxnSp>
              <p:nvCxnSpPr>
                <p:cNvPr id="58" name="直接连接符 57"/>
                <p:cNvCxnSpPr/>
                <p:nvPr>
                  <p:custDataLst>
                    <p:tags r:id="rId9"/>
                  </p:custDataLst>
                </p:nvPr>
              </p:nvCxnSpPr>
              <p:spPr>
                <a:xfrm>
                  <a:off x="722053" y="4397471"/>
                  <a:ext cx="0" cy="1529278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直接连接符 58"/>
                <p:cNvCxnSpPr/>
                <p:nvPr>
                  <p:custDataLst>
                    <p:tags r:id="rId10"/>
                  </p:custDataLst>
                </p:nvPr>
              </p:nvCxnSpPr>
              <p:spPr>
                <a:xfrm flipH="1" flipV="1">
                  <a:off x="722053" y="5926749"/>
                  <a:ext cx="102200" cy="118451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2" name="组合 61"/>
            <p:cNvGrpSpPr/>
            <p:nvPr/>
          </p:nvGrpSpPr>
          <p:grpSpPr>
            <a:xfrm>
              <a:off x="6175545" y="4397471"/>
              <a:ext cx="2630626" cy="1648460"/>
              <a:chOff x="722053" y="4397471"/>
              <a:chExt cx="2630626" cy="1648460"/>
            </a:xfrm>
          </p:grpSpPr>
          <p:grpSp>
            <p:nvGrpSpPr>
              <p:cNvPr id="63" name="组合 62"/>
              <p:cNvGrpSpPr/>
              <p:nvPr/>
            </p:nvGrpSpPr>
            <p:grpSpPr>
              <a:xfrm>
                <a:off x="723778" y="4397471"/>
                <a:ext cx="2628901" cy="1648460"/>
                <a:chOff x="509684" y="4356446"/>
                <a:chExt cx="2565930" cy="1648460"/>
              </a:xfrm>
            </p:grpSpPr>
            <p:sp>
              <p:nvSpPr>
                <p:cNvPr id="67" name="任意多边形: 形状 66"/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509684" y="4356446"/>
                  <a:ext cx="1582323" cy="344805"/>
                </a:xfrm>
                <a:custGeom>
                  <a:avLst/>
                  <a:gdLst>
                    <a:gd name="csX0" fmla="*/ 0 w 1378013"/>
                    <a:gd name="csY0" fmla="*/ 0 h 344736"/>
                    <a:gd name="csX1" fmla="*/ 430842 w 1378013"/>
                    <a:gd name="csY1" fmla="*/ 0 h 344736"/>
                    <a:gd name="csX2" fmla="*/ 794605 w 1378013"/>
                    <a:gd name="csY2" fmla="*/ 0 h 344736"/>
                    <a:gd name="csX3" fmla="*/ 1225447 w 1378013"/>
                    <a:gd name="csY3" fmla="*/ 0 h 344736"/>
                    <a:gd name="csX4" fmla="*/ 1265887 w 1378013"/>
                    <a:gd name="csY4" fmla="*/ 18944 h 344736"/>
                    <a:gd name="csX5" fmla="*/ 1365770 w 1378013"/>
                    <a:gd name="csY5" fmla="*/ 138655 h 344736"/>
                    <a:gd name="csX6" fmla="*/ 1365770 w 1378013"/>
                    <a:gd name="csY6" fmla="*/ 206144 h 344736"/>
                    <a:gd name="csX7" fmla="*/ 1265887 w 1378013"/>
                    <a:gd name="csY7" fmla="*/ 325792 h 344736"/>
                    <a:gd name="csX8" fmla="*/ 1225447 w 1378013"/>
                    <a:gd name="csY8" fmla="*/ 344736 h 344736"/>
                    <a:gd name="csX9" fmla="*/ 794605 w 1378013"/>
                    <a:gd name="csY9" fmla="*/ 344736 h 344736"/>
                    <a:gd name="csX10" fmla="*/ 430842 w 1378013"/>
                    <a:gd name="csY10" fmla="*/ 344736 h 344736"/>
                    <a:gd name="csX11" fmla="*/ 0 w 1378013"/>
                    <a:gd name="csY11" fmla="*/ 344736 h 3447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</a:cxnLst>
                  <a:rect l="l" t="t" r="r" b="b"/>
                  <a:pathLst>
                    <a:path w="1378013" h="344736">
                      <a:moveTo>
                        <a:pt x="0" y="0"/>
                      </a:moveTo>
                      <a:lnTo>
                        <a:pt x="430842" y="0"/>
                      </a:lnTo>
                      <a:lnTo>
                        <a:pt x="794605" y="0"/>
                      </a:lnTo>
                      <a:lnTo>
                        <a:pt x="1225447" y="0"/>
                      </a:lnTo>
                      <a:cubicBezTo>
                        <a:pt x="1241086" y="0"/>
                        <a:pt x="1255854" y="6918"/>
                        <a:pt x="1265887" y="18944"/>
                      </a:cubicBezTo>
                      <a:lnTo>
                        <a:pt x="1365770" y="138655"/>
                      </a:lnTo>
                      <a:cubicBezTo>
                        <a:pt x="1382095" y="158222"/>
                        <a:pt x="1382095" y="186639"/>
                        <a:pt x="1365770" y="206144"/>
                      </a:cubicBezTo>
                      <a:lnTo>
                        <a:pt x="1265887" y="325792"/>
                      </a:lnTo>
                      <a:cubicBezTo>
                        <a:pt x="1255854" y="337819"/>
                        <a:pt x="1241025" y="344736"/>
                        <a:pt x="1225447" y="344736"/>
                      </a:cubicBezTo>
                      <a:lnTo>
                        <a:pt x="794605" y="344736"/>
                      </a:lnTo>
                      <a:lnTo>
                        <a:pt x="430842" y="344736"/>
                      </a:lnTo>
                      <a:lnTo>
                        <a:pt x="0" y="344736"/>
                      </a:lnTo>
                      <a:close/>
                    </a:path>
                  </a:pathLst>
                </a:custGeom>
              </p:spPr>
              <p:style>
                <a:lnRef idx="0">
                  <a:srgbClr val="FFFFFF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anchor="ctr">
                  <a:noAutofit/>
                </a:bodyPr>
                <a:lstStyle/>
                <a:p>
                  <a:pPr algn="ctr"/>
                  <a:r>
                    <a:rPr lang="en-US" altLang="zh-CN" sz="1400" b="1" dirty="0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2022</a:t>
                  </a:r>
                  <a:r>
                    <a:rPr lang="zh-CN" altLang="en-US" sz="1400" b="1" dirty="0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年</a:t>
                  </a:r>
                  <a:endParaRPr lang="zh-CN" altLang="en-US" sz="1400" b="1" dirty="0">
                    <a:gradFill>
                      <a:gsLst>
                        <a:gs pos="100000">
                          <a:schemeClr val="bg1"/>
                        </a:gs>
                        <a:gs pos="0">
                          <a:schemeClr val="bg1"/>
                        </a:gs>
                      </a:gsLst>
                      <a:lin ang="0" scaled="0"/>
                    </a:gradFill>
                    <a:latin typeface="+mn-ea"/>
                    <a:cs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71" name="文本框 70"/>
                <p:cNvSpPr txBox="1"/>
                <p:nvPr>
                  <p:custDataLst>
                    <p:tags r:id="rId12"/>
                  </p:custDataLst>
                </p:nvPr>
              </p:nvSpPr>
              <p:spPr>
                <a:xfrm>
                  <a:off x="607611" y="4771101"/>
                  <a:ext cx="2468003" cy="1233805"/>
                </a:xfrm>
                <a:prstGeom prst="roundRect">
                  <a:avLst>
                    <a:gd name="adj" fmla="val 3459"/>
                  </a:avLst>
                </a:prstGeom>
                <a:gradFill>
                  <a:gsLst>
                    <a:gs pos="61000">
                      <a:srgbClr val="0971CA">
                        <a:alpha val="5000"/>
                      </a:srgbClr>
                    </a:gs>
                    <a:gs pos="0">
                      <a:srgbClr val="0971CA">
                        <a:alpha val="0"/>
                      </a:srgbClr>
                    </a:gs>
                  </a:gsLst>
                  <a:lin ang="0" scaled="0"/>
                </a:gradFill>
                <a:ln w="6350">
                  <a:gradFill>
                    <a:gsLst>
                      <a:gs pos="57000">
                        <a:srgbClr val="0971CA">
                          <a:alpha val="0"/>
                        </a:srgbClr>
                      </a:gs>
                      <a:gs pos="100000">
                        <a:srgbClr val="0971CA"/>
                      </a:gs>
                    </a:gsLst>
                    <a:lin ang="2700000" scaled="0"/>
                  </a:gradFill>
                </a:ln>
              </p:spPr>
              <p:txBody>
                <a:bodyPr wrap="square">
                  <a:noAutofit/>
                </a:bodyPr>
                <a:lstStyle/>
                <a:p>
                  <a:pPr lvl="0" algn="l">
                    <a:lnSpc>
                      <a:spcPct val="150000"/>
                    </a:lnSpc>
                    <a:buClrTx/>
                    <a:buSzTx/>
                    <a:buFontTx/>
                  </a:pPr>
                  <a:r>
                    <a:rPr lang="zh-CN" altLang="en-US" sz="1200" b="1" dirty="0">
                      <a:latin typeface="+mn-ea"/>
                      <a:cs typeface="微软雅黑" panose="020B0503020204020204" pitchFamily="34" charset="-122"/>
                      <a:sym typeface="+mn-ea"/>
                    </a:rPr>
                    <a:t>盐酸西替利嗪滴眼液获FDA批准，成</a:t>
                  </a:r>
                  <a:r>
                    <a:rPr lang="zh-CN" altLang="en-US" sz="1200" b="1" dirty="0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  <a:sym typeface="+mn-ea"/>
                    </a:rPr>
                    <a:t>为唯一可用于2岁及以上幼儿</a:t>
                  </a:r>
                  <a:r>
                    <a:rPr lang="zh-CN" altLang="en-US" sz="1200" b="1" dirty="0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  <a:sym typeface="+mn-ea"/>
                    </a:rPr>
                    <a:t>的抗过敏滴眼液</a:t>
                  </a:r>
                  <a:endParaRPr lang="zh-CN" altLang="en-US" sz="1200" b="1" dirty="0">
                    <a:solidFill>
                      <a:schemeClr val="tx1"/>
                    </a:solidFill>
                    <a:latin typeface="+mn-ea"/>
                    <a:cs typeface="微软雅黑" panose="020B0503020204020204" pitchFamily="34" charset="-122"/>
                    <a:sym typeface="+mn-ea"/>
                  </a:endParaRPr>
                </a:p>
              </p:txBody>
            </p:sp>
          </p:grpSp>
          <p:grpSp>
            <p:nvGrpSpPr>
              <p:cNvPr id="64" name="组合 63"/>
              <p:cNvGrpSpPr/>
              <p:nvPr/>
            </p:nvGrpSpPr>
            <p:grpSpPr>
              <a:xfrm>
                <a:off x="722053" y="4397471"/>
                <a:ext cx="102200" cy="1647729"/>
                <a:chOff x="722053" y="4397471"/>
                <a:chExt cx="102200" cy="1647729"/>
              </a:xfrm>
            </p:grpSpPr>
            <p:cxnSp>
              <p:nvCxnSpPr>
                <p:cNvPr id="65" name="直接连接符 64"/>
                <p:cNvCxnSpPr/>
                <p:nvPr>
                  <p:custDataLst>
                    <p:tags r:id="rId13"/>
                  </p:custDataLst>
                </p:nvPr>
              </p:nvCxnSpPr>
              <p:spPr>
                <a:xfrm>
                  <a:off x="722053" y="4397471"/>
                  <a:ext cx="0" cy="1529278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直接连接符 65"/>
                <p:cNvCxnSpPr/>
                <p:nvPr>
                  <p:custDataLst>
                    <p:tags r:id="rId14"/>
                  </p:custDataLst>
                </p:nvPr>
              </p:nvCxnSpPr>
              <p:spPr>
                <a:xfrm flipH="1" flipV="1">
                  <a:off x="722053" y="5926749"/>
                  <a:ext cx="102200" cy="118451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5" name="组合 74"/>
            <p:cNvGrpSpPr/>
            <p:nvPr/>
          </p:nvGrpSpPr>
          <p:grpSpPr>
            <a:xfrm>
              <a:off x="9026105" y="4397471"/>
              <a:ext cx="2689109" cy="1647729"/>
              <a:chOff x="722053" y="4397471"/>
              <a:chExt cx="2689109" cy="1647729"/>
            </a:xfrm>
          </p:grpSpPr>
          <p:grpSp>
            <p:nvGrpSpPr>
              <p:cNvPr id="77" name="组合 76"/>
              <p:cNvGrpSpPr/>
              <p:nvPr/>
            </p:nvGrpSpPr>
            <p:grpSpPr>
              <a:xfrm>
                <a:off x="723778" y="4397471"/>
                <a:ext cx="2687384" cy="1647728"/>
                <a:chOff x="509684" y="4356446"/>
                <a:chExt cx="2623012" cy="1647728"/>
              </a:xfrm>
            </p:grpSpPr>
            <p:sp>
              <p:nvSpPr>
                <p:cNvPr id="81" name="任意多边形: 形状 80"/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509684" y="4356446"/>
                  <a:ext cx="1340605" cy="344805"/>
                </a:xfrm>
                <a:custGeom>
                  <a:avLst/>
                  <a:gdLst>
                    <a:gd name="csX0" fmla="*/ 0 w 1378013"/>
                    <a:gd name="csY0" fmla="*/ 0 h 344736"/>
                    <a:gd name="csX1" fmla="*/ 430842 w 1378013"/>
                    <a:gd name="csY1" fmla="*/ 0 h 344736"/>
                    <a:gd name="csX2" fmla="*/ 794605 w 1378013"/>
                    <a:gd name="csY2" fmla="*/ 0 h 344736"/>
                    <a:gd name="csX3" fmla="*/ 1225447 w 1378013"/>
                    <a:gd name="csY3" fmla="*/ 0 h 344736"/>
                    <a:gd name="csX4" fmla="*/ 1265887 w 1378013"/>
                    <a:gd name="csY4" fmla="*/ 18944 h 344736"/>
                    <a:gd name="csX5" fmla="*/ 1365770 w 1378013"/>
                    <a:gd name="csY5" fmla="*/ 138655 h 344736"/>
                    <a:gd name="csX6" fmla="*/ 1365770 w 1378013"/>
                    <a:gd name="csY6" fmla="*/ 206144 h 344736"/>
                    <a:gd name="csX7" fmla="*/ 1265887 w 1378013"/>
                    <a:gd name="csY7" fmla="*/ 325792 h 344736"/>
                    <a:gd name="csX8" fmla="*/ 1225447 w 1378013"/>
                    <a:gd name="csY8" fmla="*/ 344736 h 344736"/>
                    <a:gd name="csX9" fmla="*/ 794605 w 1378013"/>
                    <a:gd name="csY9" fmla="*/ 344736 h 344736"/>
                    <a:gd name="csX10" fmla="*/ 430842 w 1378013"/>
                    <a:gd name="csY10" fmla="*/ 344736 h 344736"/>
                    <a:gd name="csX11" fmla="*/ 0 w 1378013"/>
                    <a:gd name="csY11" fmla="*/ 344736 h 34473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</a:cxnLst>
                  <a:rect l="l" t="t" r="r" b="b"/>
                  <a:pathLst>
                    <a:path w="1378013" h="344736">
                      <a:moveTo>
                        <a:pt x="0" y="0"/>
                      </a:moveTo>
                      <a:lnTo>
                        <a:pt x="430842" y="0"/>
                      </a:lnTo>
                      <a:lnTo>
                        <a:pt x="794605" y="0"/>
                      </a:lnTo>
                      <a:lnTo>
                        <a:pt x="1225447" y="0"/>
                      </a:lnTo>
                      <a:cubicBezTo>
                        <a:pt x="1241086" y="0"/>
                        <a:pt x="1255854" y="6918"/>
                        <a:pt x="1265887" y="18944"/>
                      </a:cubicBezTo>
                      <a:lnTo>
                        <a:pt x="1365770" y="138655"/>
                      </a:lnTo>
                      <a:cubicBezTo>
                        <a:pt x="1382095" y="158222"/>
                        <a:pt x="1382095" y="186639"/>
                        <a:pt x="1365770" y="206144"/>
                      </a:cubicBezTo>
                      <a:lnTo>
                        <a:pt x="1265887" y="325792"/>
                      </a:lnTo>
                      <a:cubicBezTo>
                        <a:pt x="1255854" y="337819"/>
                        <a:pt x="1241025" y="344736"/>
                        <a:pt x="1225447" y="344736"/>
                      </a:cubicBezTo>
                      <a:lnTo>
                        <a:pt x="794605" y="344736"/>
                      </a:lnTo>
                      <a:lnTo>
                        <a:pt x="430842" y="344736"/>
                      </a:lnTo>
                      <a:lnTo>
                        <a:pt x="0" y="344736"/>
                      </a:lnTo>
                      <a:close/>
                    </a:path>
                  </a:pathLst>
                </a:custGeom>
              </p:spPr>
              <p:style>
                <a:lnRef idx="0">
                  <a:srgbClr val="FFFFFF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anchor="ctr">
                  <a:noAutofit/>
                </a:bodyPr>
                <a:lstStyle/>
                <a:p>
                  <a:pPr algn="ctr"/>
                  <a:r>
                    <a:rPr lang="en-US" altLang="zh-CN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2024</a:t>
                  </a:r>
                  <a:r>
                    <a:rPr lang="zh-CN" altLang="en-US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年</a:t>
                  </a:r>
                  <a:r>
                    <a:rPr lang="en-US" altLang="zh-CN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9</a:t>
                  </a:r>
                  <a:r>
                    <a:rPr lang="zh-CN" altLang="en-US" sz="1400" b="1">
                      <a:gradFill>
                        <a:gsLst>
                          <a:gs pos="100000">
                            <a:schemeClr val="bg1"/>
                          </a:gs>
                          <a:gs pos="0">
                            <a:schemeClr val="bg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  <a:sym typeface="+mn-ea"/>
                    </a:rPr>
                    <a:t>月</a:t>
                  </a:r>
                  <a:endParaRPr lang="zh-CN" altLang="en-US" sz="1400" b="1">
                    <a:gradFill>
                      <a:gsLst>
                        <a:gs pos="100000">
                          <a:schemeClr val="bg1"/>
                        </a:gs>
                        <a:gs pos="0">
                          <a:schemeClr val="bg1"/>
                        </a:gs>
                      </a:gsLst>
                      <a:lin ang="0" scaled="0"/>
                    </a:gradFill>
                    <a:latin typeface="+mn-ea"/>
                    <a:cs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82" name="文本框 81"/>
                <p:cNvSpPr txBox="1"/>
                <p:nvPr>
                  <p:custDataLst>
                    <p:tags r:id="rId16"/>
                  </p:custDataLst>
                </p:nvPr>
              </p:nvSpPr>
              <p:spPr>
                <a:xfrm>
                  <a:off x="664752" y="4771427"/>
                  <a:ext cx="2467944" cy="1232747"/>
                </a:xfrm>
                <a:prstGeom prst="roundRect">
                  <a:avLst>
                    <a:gd name="adj" fmla="val 3459"/>
                  </a:avLst>
                </a:prstGeom>
                <a:gradFill>
                  <a:gsLst>
                    <a:gs pos="61000">
                      <a:srgbClr val="0971CA">
                        <a:alpha val="5000"/>
                      </a:srgbClr>
                    </a:gs>
                    <a:gs pos="0">
                      <a:srgbClr val="0971CA">
                        <a:alpha val="0"/>
                      </a:srgbClr>
                    </a:gs>
                  </a:gsLst>
                  <a:lin ang="0" scaled="0"/>
                </a:gradFill>
                <a:ln w="6350">
                  <a:gradFill>
                    <a:gsLst>
                      <a:gs pos="57000">
                        <a:srgbClr val="0971CA">
                          <a:alpha val="0"/>
                        </a:srgbClr>
                      </a:gs>
                      <a:gs pos="100000">
                        <a:srgbClr val="0971CA"/>
                      </a:gs>
                    </a:gsLst>
                    <a:lin ang="2700000" scaled="0"/>
                  </a:gradFill>
                </a:ln>
              </p:spPr>
              <p:txBody>
                <a:bodyPr wrap="square">
                  <a:noAutofit/>
                </a:bodyPr>
                <a:lstStyle/>
                <a:p>
                  <a:pPr>
                    <a:lnSpc>
                      <a:spcPct val="14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zh-CN" altLang="en-US" sz="1200" b="1" dirty="0">
                      <a:solidFill>
                        <a:schemeClr val="tx1"/>
                      </a:solidFill>
                      <a:sym typeface="+mn-ea"/>
                    </a:rPr>
                    <a:t>中国</a:t>
                  </a:r>
                  <a:r>
                    <a:rPr lang="en-US" altLang="zh-CN" sz="1200" b="1" dirty="0">
                      <a:solidFill>
                        <a:schemeClr val="tx1"/>
                      </a:solidFill>
                      <a:sym typeface="+mn-ea"/>
                    </a:rPr>
                    <a:t>III</a:t>
                  </a:r>
                  <a:r>
                    <a:rPr lang="zh-CN" altLang="en-US" sz="1200" b="1" dirty="0">
                      <a:solidFill>
                        <a:schemeClr val="tx1"/>
                      </a:solidFill>
                      <a:sym typeface="+mn-ea"/>
                    </a:rPr>
                    <a:t>期临床证实其疗效与安全性，</a:t>
                  </a:r>
                  <a:r>
                    <a:rPr lang="zh-CN" altLang="en-US" sz="1200" b="1" dirty="0">
                      <a:latin typeface="+mn-ea"/>
                      <a:cs typeface="微软雅黑" panose="020B0503020204020204" pitchFamily="34" charset="-122"/>
                      <a:sym typeface="+mn-ea"/>
                    </a:rPr>
                    <a:t> </a:t>
                  </a:r>
                  <a:r>
                    <a:rPr lang="zh-CN" altLang="en-US" sz="1200" b="1" dirty="0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  <a:sym typeface="+mn-ea"/>
                    </a:rPr>
                    <a:t>CDE优先审批，</a:t>
                  </a:r>
                  <a:r>
                    <a:rPr lang="zh-CN" altLang="en-US" sz="1200" b="1" dirty="0">
                      <a:solidFill>
                        <a:schemeClr val="tx1"/>
                      </a:solidFill>
                      <a:sym typeface="+mn-ea"/>
                    </a:rPr>
                    <a:t>成为</a:t>
                  </a:r>
                  <a:r>
                    <a:rPr lang="zh-CN" altLang="en-US" sz="1200" b="1" dirty="0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获</a:t>
                  </a:r>
                  <a:r>
                    <a:rPr lang="en-US" altLang="zh-CN" sz="1200" b="1" dirty="0">
                      <a:gradFill>
                        <a:gsLst>
                          <a:gs pos="80000">
                            <a:schemeClr val="tx1"/>
                          </a:gs>
                          <a:gs pos="20000">
                            <a:schemeClr val="tx1"/>
                          </a:gs>
                        </a:gsLst>
                        <a:lin ang="0" scaled="0"/>
                      </a:gradFill>
                      <a:latin typeface="+mn-ea"/>
                      <a:cs typeface="微软雅黑" panose="020B0503020204020204" pitchFamily="34" charset="-122"/>
                    </a:rPr>
                    <a:t>NMPA</a:t>
                  </a:r>
                  <a:r>
                    <a:rPr lang="zh-CN" altLang="en-US" sz="1200" b="1" dirty="0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首个且唯一可用于</a:t>
                  </a:r>
                  <a:r>
                    <a:rPr lang="en-US" altLang="zh-CN" sz="1200" b="1" dirty="0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2</a:t>
                  </a:r>
                  <a:r>
                    <a:rPr lang="zh-CN" altLang="en-US" sz="1200" b="1" dirty="0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岁</a:t>
                  </a:r>
                  <a:r>
                    <a:rPr lang="zh-CN" altLang="en-US" sz="1200" b="1" dirty="0">
                      <a:solidFill>
                        <a:srgbClr val="0971CA"/>
                      </a:solidFill>
                      <a:latin typeface="+mn-ea"/>
                      <a:cs typeface="微软雅黑" panose="020B0503020204020204" pitchFamily="34" charset="-122"/>
                    </a:rPr>
                    <a:t>及以上</a:t>
                  </a:r>
                  <a:r>
                    <a:rPr lang="zh-CN" altLang="en-US" sz="1200" b="1" dirty="0">
                      <a:solidFill>
                        <a:srgbClr val="E1007F"/>
                      </a:solidFill>
                      <a:latin typeface="+mn-ea"/>
                      <a:cs typeface="微软雅黑" panose="020B0503020204020204" pitchFamily="34" charset="-122"/>
                    </a:rPr>
                    <a:t>幼儿</a:t>
                  </a:r>
                  <a:r>
                    <a:rPr lang="zh-CN" altLang="en-US" sz="1200" b="1" dirty="0">
                      <a:solidFill>
                        <a:schemeClr val="tx1"/>
                      </a:solidFill>
                      <a:latin typeface="+mn-ea"/>
                      <a:cs typeface="微软雅黑" panose="020B0503020204020204" pitchFamily="34" charset="-122"/>
                    </a:rPr>
                    <a:t>的抗过敏滴眼液</a:t>
                  </a:r>
                  <a:endParaRPr lang="zh-CN" altLang="en-US" sz="1200" b="1" dirty="0">
                    <a:solidFill>
                      <a:schemeClr val="tx1"/>
                    </a:solidFill>
                    <a:latin typeface="+mn-ea"/>
                    <a:cs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78" name="组合 77"/>
              <p:cNvGrpSpPr/>
              <p:nvPr/>
            </p:nvGrpSpPr>
            <p:grpSpPr>
              <a:xfrm>
                <a:off x="722053" y="4397471"/>
                <a:ext cx="102200" cy="1647729"/>
                <a:chOff x="722053" y="4397471"/>
                <a:chExt cx="102200" cy="1647729"/>
              </a:xfrm>
            </p:grpSpPr>
            <p:cxnSp>
              <p:nvCxnSpPr>
                <p:cNvPr id="79" name="直接连接符 78"/>
                <p:cNvCxnSpPr/>
                <p:nvPr>
                  <p:custDataLst>
                    <p:tags r:id="rId17"/>
                  </p:custDataLst>
                </p:nvPr>
              </p:nvCxnSpPr>
              <p:spPr>
                <a:xfrm>
                  <a:off x="722053" y="4397471"/>
                  <a:ext cx="0" cy="1529278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直接连接符 79"/>
                <p:cNvCxnSpPr/>
                <p:nvPr>
                  <p:custDataLst>
                    <p:tags r:id="rId18"/>
                  </p:custDataLst>
                </p:nvPr>
              </p:nvCxnSpPr>
              <p:spPr>
                <a:xfrm flipH="1" flipV="1">
                  <a:off x="722053" y="5926749"/>
                  <a:ext cx="102200" cy="118451"/>
                </a:xfrm>
                <a:prstGeom prst="line">
                  <a:avLst/>
                </a:prstGeom>
                <a:ln w="6350">
                  <a:solidFill>
                    <a:srgbClr val="0971C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2091690" y="164149"/>
            <a:ext cx="9725660" cy="82994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盐酸西替利嗪滴眼液是目前唯一适用</a:t>
            </a:r>
            <a:r>
              <a:rPr lang="zh-CN" altLang="en-US" sz="2400" b="1">
                <a:solidFill>
                  <a:srgbClr val="E1007F"/>
                </a:solidFill>
                <a:latin typeface="微软雅黑" panose="020B0503020204020204" pitchFamily="34" charset="-122"/>
                <a:sym typeface="+mn-ea"/>
              </a:rPr>
              <a:t>幼儿</a:t>
            </a:r>
            <a:r>
              <a: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、起</a:t>
            </a: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效最快、长久稳定、控症最全的抗过敏滴眼液之一</a:t>
            </a:r>
            <a:endParaRPr lang="zh-CN" altLang="en-US" sz="2400" b="1">
              <a:gradFill>
                <a:gsLst>
                  <a:gs pos="5000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16" name="任意多边形: 形状 15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17" name="任意多边形: 形状 16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有效性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374650" y="6237828"/>
            <a:ext cx="11442700" cy="44513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 Malhotra RP, Meier E, Torkildsen G, et al. Safety of cetirizine ophthalmic solution 0.24% for the treatment of allergic conjunctivitis in adult and pediatric subjects[J]. Clin Ophthalmol, 2019, 13: 403-413. 2.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张钰鑫。盐酸西替利嗪滴眼液在过敏性结膜炎治疗中的安全性和有效性研究 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[J]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中国实用眼科杂志，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2025,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；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3.Kavanagh JT. Blurred Lines: The Interaction and Overlap of Ocular Allergy and Dry Eye[J]. Ophthalmology360, 2025; 4.Meier EJ, Torkildsen GL, Gomes PJ, et al. Phase III trials examining the efficacy of cetirizine ophthalmic solution 0.24% compared to vehicle for the treatment of allergic conjunctivitis in the conjunctival allergen challenge model[J]. Clin Ophthalmol, 2018, 12: 2617-2628.  5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国内 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III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期注册临床试验报告（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NMPA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，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2022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，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N=296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，阳性对照依美斯汀）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grpSp>
        <p:nvGrpSpPr>
          <p:cNvPr id="72" name="组合 71"/>
          <p:cNvGrpSpPr/>
          <p:nvPr>
            <p:custDataLst>
              <p:tags r:id="rId1"/>
            </p:custDataLst>
          </p:nvPr>
        </p:nvGrpSpPr>
        <p:grpSpPr>
          <a:xfrm>
            <a:off x="374649" y="1106371"/>
            <a:ext cx="11442700" cy="1132496"/>
            <a:chOff x="374649" y="1106371"/>
            <a:chExt cx="11442700" cy="1132496"/>
          </a:xfrm>
        </p:grpSpPr>
        <p:sp>
          <p:nvSpPr>
            <p:cNvPr id="47" name="任意多边形: 形状 46"/>
            <p:cNvSpPr/>
            <p:nvPr>
              <p:custDataLst>
                <p:tags r:id="rId2"/>
              </p:custDataLst>
            </p:nvPr>
          </p:nvSpPr>
          <p:spPr>
            <a:xfrm>
              <a:off x="374649" y="1106371"/>
              <a:ext cx="11442700" cy="1132496"/>
            </a:xfrm>
            <a:custGeom>
              <a:avLst/>
              <a:gdLst>
                <a:gd name="csX0" fmla="*/ 374913 w 11442700"/>
                <a:gd name="csY0" fmla="*/ 0 h 1132496"/>
                <a:gd name="csX1" fmla="*/ 1403340 w 11442700"/>
                <a:gd name="csY1" fmla="*/ 0 h 1132496"/>
                <a:gd name="csX2" fmla="*/ 10056990 w 11442700"/>
                <a:gd name="csY2" fmla="*/ 0 h 1132496"/>
                <a:gd name="csX3" fmla="*/ 11085417 w 11442700"/>
                <a:gd name="csY3" fmla="*/ 0 h 1132496"/>
                <a:gd name="csX4" fmla="*/ 11275189 w 11442700"/>
                <a:gd name="csY4" fmla="*/ 126090 h 1132496"/>
                <a:gd name="csX5" fmla="*/ 11426635 w 11442700"/>
                <a:gd name="csY5" fmla="*/ 486414 h 1132496"/>
                <a:gd name="csX6" fmla="*/ 11426635 w 11442700"/>
                <a:gd name="csY6" fmla="*/ 646082 h 1132496"/>
                <a:gd name="csX7" fmla="*/ 11275189 w 11442700"/>
                <a:gd name="csY7" fmla="*/ 1006406 h 1132496"/>
                <a:gd name="csX8" fmla="*/ 11085417 w 11442700"/>
                <a:gd name="csY8" fmla="*/ 1132496 h 1132496"/>
                <a:gd name="csX9" fmla="*/ 10056990 w 11442700"/>
                <a:gd name="csY9" fmla="*/ 1132496 h 1132496"/>
                <a:gd name="csX10" fmla="*/ 1403340 w 11442700"/>
                <a:gd name="csY10" fmla="*/ 1132496 h 1132496"/>
                <a:gd name="csX11" fmla="*/ 374913 w 11442700"/>
                <a:gd name="csY11" fmla="*/ 1132496 h 1132496"/>
                <a:gd name="csX12" fmla="*/ 185141 w 11442700"/>
                <a:gd name="csY12" fmla="*/ 1006406 h 1132496"/>
                <a:gd name="csX13" fmla="*/ 0 w 11442700"/>
                <a:gd name="csY13" fmla="*/ 566190 h 1132496"/>
                <a:gd name="csX14" fmla="*/ 185024 w 11442700"/>
                <a:gd name="csY14" fmla="*/ 126090 h 1132496"/>
                <a:gd name="csX15" fmla="*/ 374913 w 11442700"/>
                <a:gd name="csY15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11442700" h="1132496">
                  <a:moveTo>
                    <a:pt x="374913" y="0"/>
                  </a:moveTo>
                  <a:lnTo>
                    <a:pt x="1403340" y="0"/>
                  </a:lnTo>
                  <a:lnTo>
                    <a:pt x="10056990" y="0"/>
                  </a:lnTo>
                  <a:lnTo>
                    <a:pt x="11085417" y="0"/>
                  </a:lnTo>
                  <a:cubicBezTo>
                    <a:pt x="11168319" y="0"/>
                    <a:pt x="11243116" y="49672"/>
                    <a:pt x="11275189" y="126090"/>
                  </a:cubicBezTo>
                  <a:lnTo>
                    <a:pt x="11426635" y="486414"/>
                  </a:lnTo>
                  <a:cubicBezTo>
                    <a:pt x="11448055" y="537476"/>
                    <a:pt x="11448055" y="595020"/>
                    <a:pt x="11426635" y="646082"/>
                  </a:cubicBezTo>
                  <a:lnTo>
                    <a:pt x="11275189" y="1006406"/>
                  </a:lnTo>
                  <a:cubicBezTo>
                    <a:pt x="11243116" y="1082824"/>
                    <a:pt x="11168203" y="1132496"/>
                    <a:pt x="11085417" y="1132496"/>
                  </a:cubicBezTo>
                  <a:lnTo>
                    <a:pt x="10056990" y="1132496"/>
                  </a:lnTo>
                  <a:lnTo>
                    <a:pt x="140334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gradFill>
                <a:gsLst>
                  <a:gs pos="13000">
                    <a:srgbClr val="0971CA">
                      <a:alpha val="0"/>
                    </a:srgbClr>
                  </a:gs>
                  <a:gs pos="50000">
                    <a:srgbClr val="0971CA"/>
                  </a:gs>
                </a:gsLst>
                <a:lin ang="0" scaled="0"/>
              </a:gradFill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>
              <p:custDataLst>
                <p:tags r:id="rId3"/>
              </p:custDataLst>
            </p:nvPr>
          </p:nvSpPr>
          <p:spPr>
            <a:xfrm>
              <a:off x="416805" y="1106371"/>
              <a:ext cx="1881378" cy="1131568"/>
            </a:xfrm>
            <a:custGeom>
              <a:avLst/>
              <a:gdLst>
                <a:gd name="csX0" fmla="*/ 332759 w 1881378"/>
                <a:gd name="csY0" fmla="*/ 0 h 1131568"/>
                <a:gd name="csX1" fmla="*/ 1361185 w 1881378"/>
                <a:gd name="csY1" fmla="*/ 0 h 1131568"/>
                <a:gd name="csX2" fmla="*/ 1881378 w 1881378"/>
                <a:gd name="csY2" fmla="*/ 0 h 1131568"/>
                <a:gd name="csX3" fmla="*/ 1879891 w 1881378"/>
                <a:gd name="csY3" fmla="*/ 88118 h 1131568"/>
                <a:gd name="csX4" fmla="*/ 1365761 w 1881378"/>
                <a:gd name="csY4" fmla="*/ 1120617 h 1131568"/>
                <a:gd name="csX5" fmla="*/ 1353169 w 1881378"/>
                <a:gd name="csY5" fmla="*/ 1131568 h 1131568"/>
                <a:gd name="csX6" fmla="*/ 293580 w 1881378"/>
                <a:gd name="csY6" fmla="*/ 1006660 h 1131568"/>
                <a:gd name="csX7" fmla="*/ 111331 w 1881378"/>
                <a:gd name="csY7" fmla="*/ 851967 h 1131568"/>
                <a:gd name="csX8" fmla="*/ 0 w 1881378"/>
                <a:gd name="csY8" fmla="*/ 465922 h 1131568"/>
                <a:gd name="csX9" fmla="*/ 142869 w 1881378"/>
                <a:gd name="csY9" fmla="*/ 126090 h 1131568"/>
                <a:gd name="csX10" fmla="*/ 332759 w 1881378"/>
                <a:gd name="csY10" fmla="*/ 0 h 11315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881378" h="1131568">
                  <a:moveTo>
                    <a:pt x="332759" y="0"/>
                  </a:moveTo>
                  <a:lnTo>
                    <a:pt x="1361185" y="0"/>
                  </a:lnTo>
                  <a:lnTo>
                    <a:pt x="1881378" y="0"/>
                  </a:lnTo>
                  <a:lnTo>
                    <a:pt x="1879891" y="88118"/>
                  </a:lnTo>
                  <a:cubicBezTo>
                    <a:pt x="1831613" y="497651"/>
                    <a:pt x="1642089" y="856138"/>
                    <a:pt x="1365761" y="1120617"/>
                  </a:cubicBezTo>
                  <a:lnTo>
                    <a:pt x="1353169" y="1131568"/>
                  </a:lnTo>
                  <a:lnTo>
                    <a:pt x="293580" y="1006660"/>
                  </a:lnTo>
                  <a:cubicBezTo>
                    <a:pt x="207198" y="996477"/>
                    <a:pt x="135362" y="935533"/>
                    <a:pt x="111331" y="851967"/>
                  </a:cubicBezTo>
                  <a:lnTo>
                    <a:pt x="0" y="465922"/>
                  </a:lnTo>
                  <a:lnTo>
                    <a:pt x="142869" y="126090"/>
                  </a:lnTo>
                  <a:cubicBezTo>
                    <a:pt x="175058" y="49672"/>
                    <a:pt x="249857" y="0"/>
                    <a:pt x="332759" y="0"/>
                  </a:cubicBezTo>
                  <a:close/>
                </a:path>
              </a:pathLst>
            </a:custGeom>
            <a:solidFill>
              <a:srgbClr val="EFF7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4" name="任意多边形: 形状 63"/>
            <p:cNvSpPr/>
            <p:nvPr>
              <p:custDataLst>
                <p:tags r:id="rId4"/>
              </p:custDataLst>
            </p:nvPr>
          </p:nvSpPr>
          <p:spPr>
            <a:xfrm>
              <a:off x="374649" y="1106371"/>
              <a:ext cx="1773964" cy="1132496"/>
            </a:xfrm>
            <a:custGeom>
              <a:avLst/>
              <a:gdLst>
                <a:gd name="csX0" fmla="*/ 374913 w 1773964"/>
                <a:gd name="csY0" fmla="*/ 0 h 1132496"/>
                <a:gd name="csX1" fmla="*/ 1403340 w 1773964"/>
                <a:gd name="csY1" fmla="*/ 0 h 1132496"/>
                <a:gd name="csX2" fmla="*/ 1765292 w 1773964"/>
                <a:gd name="csY2" fmla="*/ 0 h 1132496"/>
                <a:gd name="csX3" fmla="*/ 1773964 w 1773964"/>
                <a:gd name="csY3" fmla="*/ 86029 h 1132496"/>
                <a:gd name="csX4" fmla="*/ 1402518 w 1773964"/>
                <a:gd name="csY4" fmla="*/ 1120725 h 1132496"/>
                <a:gd name="csX5" fmla="*/ 1391820 w 1773964"/>
                <a:gd name="csY5" fmla="*/ 1132496 h 1132496"/>
                <a:gd name="csX6" fmla="*/ 374913 w 1773964"/>
                <a:gd name="csY6" fmla="*/ 1132496 h 1132496"/>
                <a:gd name="csX7" fmla="*/ 185141 w 1773964"/>
                <a:gd name="csY7" fmla="*/ 1006406 h 1132496"/>
                <a:gd name="csX8" fmla="*/ 0 w 1773964"/>
                <a:gd name="csY8" fmla="*/ 566190 h 1132496"/>
                <a:gd name="csX9" fmla="*/ 185024 w 1773964"/>
                <a:gd name="csY9" fmla="*/ 126090 h 1132496"/>
                <a:gd name="csX10" fmla="*/ 374913 w 1773964"/>
                <a:gd name="csY10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773964" h="1132496">
                  <a:moveTo>
                    <a:pt x="374913" y="0"/>
                  </a:moveTo>
                  <a:lnTo>
                    <a:pt x="1403340" y="0"/>
                  </a:lnTo>
                  <a:lnTo>
                    <a:pt x="1765292" y="0"/>
                  </a:lnTo>
                  <a:lnTo>
                    <a:pt x="1773964" y="86029"/>
                  </a:lnTo>
                  <a:cubicBezTo>
                    <a:pt x="1773964" y="479066"/>
                    <a:pt x="1634568" y="839545"/>
                    <a:pt x="1402518" y="1120725"/>
                  </a:cubicBezTo>
                  <a:lnTo>
                    <a:pt x="139182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66" name="文本框 65"/>
            <p:cNvSpPr txBox="1"/>
            <p:nvPr>
              <p:custDataLst>
                <p:tags r:id="rId5"/>
              </p:custDataLst>
            </p:nvPr>
          </p:nvSpPr>
          <p:spPr>
            <a:xfrm>
              <a:off x="521971" y="1441787"/>
              <a:ext cx="1465760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唯一</a:t>
              </a:r>
              <a:endParaRPr lang="zh-CN" altLang="en-US" sz="2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69" name="组合 68"/>
            <p:cNvGrpSpPr/>
            <p:nvPr/>
          </p:nvGrpSpPr>
          <p:grpSpPr>
            <a:xfrm>
              <a:off x="2403349" y="1168284"/>
              <a:ext cx="8072190" cy="1051156"/>
              <a:chOff x="2407152" y="1134500"/>
              <a:chExt cx="9068105" cy="1051156"/>
            </a:xfrm>
          </p:grpSpPr>
          <p:sp>
            <p:nvSpPr>
              <p:cNvPr id="67" name="文本框 66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2412999" y="1134500"/>
                <a:ext cx="750887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auto">
                  <a:buClr>
                    <a:srgbClr val="F7A200"/>
                  </a:buClr>
                  <a:buSzTx/>
                </a:pPr>
                <a:r>
                  <a:rPr lang="zh-CN" altLang="en-US" sz="1600" b="1" dirty="0">
                    <a:solidFill>
                      <a:srgbClr val="0971CA"/>
                    </a:solidFill>
                    <a:effectLst/>
                    <a:latin typeface="+mn-ea"/>
                  </a:rPr>
                  <a:t>幼儿人群唯一获批，疗效与成人一致</a:t>
                </a:r>
                <a:endParaRPr lang="zh-CN" altLang="en-US" sz="1600" b="1" dirty="0">
                  <a:solidFill>
                    <a:srgbClr val="0971CA"/>
                  </a:solidFill>
                  <a:effectLst/>
                  <a:latin typeface="+mn-ea"/>
                </a:endParaRPr>
              </a:p>
            </p:txBody>
          </p:sp>
          <p:sp>
            <p:nvSpPr>
              <p:cNvPr id="68" name="文本框 67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2407152" y="1396529"/>
                <a:ext cx="9068105" cy="7891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lvl="0">
                  <a:lnSpc>
                    <a:spcPct val="130000"/>
                  </a:lnSpc>
                  <a:buFont typeface="Arial" panose="020B0604020202020204"/>
                  <a:defRPr sz="1200" b="1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</a:defRPr>
                </a:lvl1pPr>
              </a:lstStyle>
              <a:p>
                <a:r>
                  <a:rPr lang="zh-CN" altLang="en-US" dirty="0"/>
                  <a:t>境外 </a:t>
                </a:r>
                <a:r>
                  <a:rPr lang="en-US" altLang="zh-CN" dirty="0"/>
                  <a:t>+ </a:t>
                </a:r>
                <a:r>
                  <a:rPr lang="zh-CN" altLang="en-US" dirty="0"/>
                  <a:t>中国儿童研究（</a:t>
                </a:r>
                <a:r>
                  <a:rPr lang="en-US" altLang="zh-CN" dirty="0"/>
                  <a:t>2–18</a:t>
                </a:r>
                <a:r>
                  <a:rPr lang="zh-CN" altLang="en-US" dirty="0"/>
                  <a:t>岁，含</a:t>
                </a:r>
                <a:r>
                  <a:rPr lang="en-US" altLang="zh-CN" dirty="0"/>
                  <a:t>2–3</a:t>
                </a:r>
                <a:r>
                  <a:rPr lang="zh-CN" altLang="en-US" dirty="0"/>
                  <a:t>岁）：</a:t>
                </a:r>
                <a:r>
                  <a:rPr lang="en-US" altLang="zh-CN" dirty="0"/>
                  <a:t>50</a:t>
                </a:r>
                <a:r>
                  <a:rPr lang="zh-CN" altLang="en-US" dirty="0"/>
                  <a:t>例随机对照，疗效与依美斯汀相当，症状</a:t>
                </a:r>
                <a:r>
                  <a:rPr lang="en-US" altLang="zh-CN" dirty="0"/>
                  <a:t>/</a:t>
                </a:r>
                <a:r>
                  <a:rPr lang="zh-CN" altLang="en-US" dirty="0"/>
                  <a:t>体征评分、炎症因子、</a:t>
                </a:r>
                <a:endParaRPr lang="en-US" altLang="zh-CN" dirty="0"/>
              </a:p>
              <a:p>
                <a:r>
                  <a:rPr lang="zh-CN" altLang="en-US" dirty="0"/>
                  <a:t>角膜染色均显著改善（</a:t>
                </a:r>
                <a:r>
                  <a:rPr lang="en-US" altLang="zh-CN" dirty="0"/>
                  <a:t>P&lt;0.05</a:t>
                </a:r>
                <a:r>
                  <a:rPr lang="zh-CN" altLang="en-US" dirty="0"/>
                  <a:t>）；</a:t>
                </a:r>
                <a:r>
                  <a:rPr lang="en-US" altLang="zh-CN" dirty="0"/>
                  <a:t>2–3</a:t>
                </a:r>
                <a:r>
                  <a:rPr lang="zh-CN" altLang="en-US" dirty="0"/>
                  <a:t>岁幼儿起效、长效、症状改善幅度与成人无差异</a:t>
                </a:r>
                <a:r>
                  <a:rPr lang="en-US" altLang="zh-CN" baseline="300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</a:rPr>
                  <a:t>1,2</a:t>
                </a:r>
                <a:r>
                  <a:rPr lang="zh-CN" altLang="en-US" dirty="0"/>
                  <a:t>；获批地位：</a:t>
                </a:r>
                <a:r>
                  <a:rPr lang="en-US" altLang="zh-CN" dirty="0"/>
                  <a:t>FDA/NMPA</a:t>
                </a:r>
                <a:r>
                  <a:rPr lang="zh-CN" altLang="en-US" dirty="0"/>
                  <a:t>唯一批准用于</a:t>
                </a:r>
                <a:r>
                  <a:rPr lang="en-US" altLang="zh-CN" dirty="0"/>
                  <a:t>2</a:t>
                </a:r>
                <a:r>
                  <a:rPr lang="zh-CN" altLang="en-US" dirty="0"/>
                  <a:t>岁及以上的抗过敏滴眼液（多数竞品≥</a:t>
                </a:r>
                <a:r>
                  <a:rPr lang="en-US" altLang="zh-CN" dirty="0"/>
                  <a:t>3</a:t>
                </a:r>
                <a:r>
                  <a:rPr lang="zh-CN" altLang="en-US" dirty="0"/>
                  <a:t>岁）</a:t>
                </a:r>
                <a:r>
                  <a:rPr lang="en-US" altLang="zh-CN" baseline="300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</a:rPr>
                  <a:t>3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CDE</a:t>
                </a:r>
                <a:r>
                  <a:rPr lang="zh-CN" altLang="en-US" dirty="0"/>
                  <a:t>纳入优先审评审批（符合儿童生理特征药品）</a:t>
                </a:r>
                <a:endParaRPr lang="zh-CN" altLang="en-US" dirty="0"/>
              </a:p>
            </p:txBody>
          </p:sp>
        </p:grpSp>
      </p:grpSp>
      <p:grpSp>
        <p:nvGrpSpPr>
          <p:cNvPr id="73" name="组合 72"/>
          <p:cNvGrpSpPr/>
          <p:nvPr>
            <p:custDataLst>
              <p:tags r:id="rId8"/>
            </p:custDataLst>
          </p:nvPr>
        </p:nvGrpSpPr>
        <p:grpSpPr>
          <a:xfrm>
            <a:off x="374649" y="2388517"/>
            <a:ext cx="11442700" cy="1132496"/>
            <a:chOff x="374649" y="1106371"/>
            <a:chExt cx="11442700" cy="1132496"/>
          </a:xfrm>
        </p:grpSpPr>
        <p:sp>
          <p:nvSpPr>
            <p:cNvPr id="74" name="任意多边形: 形状 73"/>
            <p:cNvSpPr/>
            <p:nvPr>
              <p:custDataLst>
                <p:tags r:id="rId9"/>
              </p:custDataLst>
            </p:nvPr>
          </p:nvSpPr>
          <p:spPr>
            <a:xfrm>
              <a:off x="374649" y="1106371"/>
              <a:ext cx="11442700" cy="1132496"/>
            </a:xfrm>
            <a:custGeom>
              <a:avLst/>
              <a:gdLst>
                <a:gd name="csX0" fmla="*/ 374913 w 11442700"/>
                <a:gd name="csY0" fmla="*/ 0 h 1132496"/>
                <a:gd name="csX1" fmla="*/ 1403340 w 11442700"/>
                <a:gd name="csY1" fmla="*/ 0 h 1132496"/>
                <a:gd name="csX2" fmla="*/ 10056990 w 11442700"/>
                <a:gd name="csY2" fmla="*/ 0 h 1132496"/>
                <a:gd name="csX3" fmla="*/ 11085417 w 11442700"/>
                <a:gd name="csY3" fmla="*/ 0 h 1132496"/>
                <a:gd name="csX4" fmla="*/ 11275189 w 11442700"/>
                <a:gd name="csY4" fmla="*/ 126090 h 1132496"/>
                <a:gd name="csX5" fmla="*/ 11426635 w 11442700"/>
                <a:gd name="csY5" fmla="*/ 486414 h 1132496"/>
                <a:gd name="csX6" fmla="*/ 11426635 w 11442700"/>
                <a:gd name="csY6" fmla="*/ 646082 h 1132496"/>
                <a:gd name="csX7" fmla="*/ 11275189 w 11442700"/>
                <a:gd name="csY7" fmla="*/ 1006406 h 1132496"/>
                <a:gd name="csX8" fmla="*/ 11085417 w 11442700"/>
                <a:gd name="csY8" fmla="*/ 1132496 h 1132496"/>
                <a:gd name="csX9" fmla="*/ 10056990 w 11442700"/>
                <a:gd name="csY9" fmla="*/ 1132496 h 1132496"/>
                <a:gd name="csX10" fmla="*/ 1403340 w 11442700"/>
                <a:gd name="csY10" fmla="*/ 1132496 h 1132496"/>
                <a:gd name="csX11" fmla="*/ 374913 w 11442700"/>
                <a:gd name="csY11" fmla="*/ 1132496 h 1132496"/>
                <a:gd name="csX12" fmla="*/ 185141 w 11442700"/>
                <a:gd name="csY12" fmla="*/ 1006406 h 1132496"/>
                <a:gd name="csX13" fmla="*/ 0 w 11442700"/>
                <a:gd name="csY13" fmla="*/ 566190 h 1132496"/>
                <a:gd name="csX14" fmla="*/ 185024 w 11442700"/>
                <a:gd name="csY14" fmla="*/ 126090 h 1132496"/>
                <a:gd name="csX15" fmla="*/ 374913 w 11442700"/>
                <a:gd name="csY15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11442700" h="1132496">
                  <a:moveTo>
                    <a:pt x="374913" y="0"/>
                  </a:moveTo>
                  <a:lnTo>
                    <a:pt x="1403340" y="0"/>
                  </a:lnTo>
                  <a:lnTo>
                    <a:pt x="10056990" y="0"/>
                  </a:lnTo>
                  <a:lnTo>
                    <a:pt x="11085417" y="0"/>
                  </a:lnTo>
                  <a:cubicBezTo>
                    <a:pt x="11168319" y="0"/>
                    <a:pt x="11243116" y="49672"/>
                    <a:pt x="11275189" y="126090"/>
                  </a:cubicBezTo>
                  <a:lnTo>
                    <a:pt x="11426635" y="486414"/>
                  </a:lnTo>
                  <a:cubicBezTo>
                    <a:pt x="11448055" y="537476"/>
                    <a:pt x="11448055" y="595020"/>
                    <a:pt x="11426635" y="646082"/>
                  </a:cubicBezTo>
                  <a:lnTo>
                    <a:pt x="11275189" y="1006406"/>
                  </a:lnTo>
                  <a:cubicBezTo>
                    <a:pt x="11243116" y="1082824"/>
                    <a:pt x="11168203" y="1132496"/>
                    <a:pt x="11085417" y="1132496"/>
                  </a:cubicBezTo>
                  <a:lnTo>
                    <a:pt x="10056990" y="1132496"/>
                  </a:lnTo>
                  <a:lnTo>
                    <a:pt x="140334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gradFill>
                <a:gsLst>
                  <a:gs pos="13000">
                    <a:srgbClr val="0971CA">
                      <a:alpha val="0"/>
                    </a:srgbClr>
                  </a:gs>
                  <a:gs pos="50000">
                    <a:srgbClr val="0971CA"/>
                  </a:gs>
                </a:gsLst>
                <a:lin ang="0" scaled="0"/>
              </a:gradFill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>
              <p:custDataLst>
                <p:tags r:id="rId10"/>
              </p:custDataLst>
            </p:nvPr>
          </p:nvSpPr>
          <p:spPr>
            <a:xfrm>
              <a:off x="416805" y="1106371"/>
              <a:ext cx="1881378" cy="1131568"/>
            </a:xfrm>
            <a:custGeom>
              <a:avLst/>
              <a:gdLst>
                <a:gd name="csX0" fmla="*/ 332759 w 1881378"/>
                <a:gd name="csY0" fmla="*/ 0 h 1131568"/>
                <a:gd name="csX1" fmla="*/ 1361185 w 1881378"/>
                <a:gd name="csY1" fmla="*/ 0 h 1131568"/>
                <a:gd name="csX2" fmla="*/ 1881378 w 1881378"/>
                <a:gd name="csY2" fmla="*/ 0 h 1131568"/>
                <a:gd name="csX3" fmla="*/ 1879891 w 1881378"/>
                <a:gd name="csY3" fmla="*/ 88118 h 1131568"/>
                <a:gd name="csX4" fmla="*/ 1365761 w 1881378"/>
                <a:gd name="csY4" fmla="*/ 1120617 h 1131568"/>
                <a:gd name="csX5" fmla="*/ 1353169 w 1881378"/>
                <a:gd name="csY5" fmla="*/ 1131568 h 1131568"/>
                <a:gd name="csX6" fmla="*/ 293580 w 1881378"/>
                <a:gd name="csY6" fmla="*/ 1006660 h 1131568"/>
                <a:gd name="csX7" fmla="*/ 111331 w 1881378"/>
                <a:gd name="csY7" fmla="*/ 851967 h 1131568"/>
                <a:gd name="csX8" fmla="*/ 0 w 1881378"/>
                <a:gd name="csY8" fmla="*/ 465922 h 1131568"/>
                <a:gd name="csX9" fmla="*/ 142869 w 1881378"/>
                <a:gd name="csY9" fmla="*/ 126090 h 1131568"/>
                <a:gd name="csX10" fmla="*/ 332759 w 1881378"/>
                <a:gd name="csY10" fmla="*/ 0 h 11315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881378" h="1131568">
                  <a:moveTo>
                    <a:pt x="332759" y="0"/>
                  </a:moveTo>
                  <a:lnTo>
                    <a:pt x="1361185" y="0"/>
                  </a:lnTo>
                  <a:lnTo>
                    <a:pt x="1881378" y="0"/>
                  </a:lnTo>
                  <a:lnTo>
                    <a:pt x="1879891" y="88118"/>
                  </a:lnTo>
                  <a:cubicBezTo>
                    <a:pt x="1831613" y="497651"/>
                    <a:pt x="1642089" y="856138"/>
                    <a:pt x="1365761" y="1120617"/>
                  </a:cubicBezTo>
                  <a:lnTo>
                    <a:pt x="1353169" y="1131568"/>
                  </a:lnTo>
                  <a:lnTo>
                    <a:pt x="293580" y="1006660"/>
                  </a:lnTo>
                  <a:cubicBezTo>
                    <a:pt x="207198" y="996477"/>
                    <a:pt x="135362" y="935533"/>
                    <a:pt x="111331" y="851967"/>
                  </a:cubicBezTo>
                  <a:lnTo>
                    <a:pt x="0" y="465922"/>
                  </a:lnTo>
                  <a:lnTo>
                    <a:pt x="142869" y="126090"/>
                  </a:lnTo>
                  <a:cubicBezTo>
                    <a:pt x="175058" y="49672"/>
                    <a:pt x="249857" y="0"/>
                    <a:pt x="332759" y="0"/>
                  </a:cubicBezTo>
                  <a:close/>
                </a:path>
              </a:pathLst>
            </a:custGeom>
            <a:solidFill>
              <a:srgbClr val="EFF7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6" name="任意多边形: 形状 75"/>
            <p:cNvSpPr/>
            <p:nvPr>
              <p:custDataLst>
                <p:tags r:id="rId11"/>
              </p:custDataLst>
            </p:nvPr>
          </p:nvSpPr>
          <p:spPr>
            <a:xfrm>
              <a:off x="374649" y="1106371"/>
              <a:ext cx="1773964" cy="1132496"/>
            </a:xfrm>
            <a:custGeom>
              <a:avLst/>
              <a:gdLst>
                <a:gd name="csX0" fmla="*/ 374913 w 1773964"/>
                <a:gd name="csY0" fmla="*/ 0 h 1132496"/>
                <a:gd name="csX1" fmla="*/ 1403340 w 1773964"/>
                <a:gd name="csY1" fmla="*/ 0 h 1132496"/>
                <a:gd name="csX2" fmla="*/ 1765292 w 1773964"/>
                <a:gd name="csY2" fmla="*/ 0 h 1132496"/>
                <a:gd name="csX3" fmla="*/ 1773964 w 1773964"/>
                <a:gd name="csY3" fmla="*/ 86029 h 1132496"/>
                <a:gd name="csX4" fmla="*/ 1402518 w 1773964"/>
                <a:gd name="csY4" fmla="*/ 1120725 h 1132496"/>
                <a:gd name="csX5" fmla="*/ 1391820 w 1773964"/>
                <a:gd name="csY5" fmla="*/ 1132496 h 1132496"/>
                <a:gd name="csX6" fmla="*/ 374913 w 1773964"/>
                <a:gd name="csY6" fmla="*/ 1132496 h 1132496"/>
                <a:gd name="csX7" fmla="*/ 185141 w 1773964"/>
                <a:gd name="csY7" fmla="*/ 1006406 h 1132496"/>
                <a:gd name="csX8" fmla="*/ 0 w 1773964"/>
                <a:gd name="csY8" fmla="*/ 566190 h 1132496"/>
                <a:gd name="csX9" fmla="*/ 185024 w 1773964"/>
                <a:gd name="csY9" fmla="*/ 126090 h 1132496"/>
                <a:gd name="csX10" fmla="*/ 374913 w 1773964"/>
                <a:gd name="csY10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773964" h="1132496">
                  <a:moveTo>
                    <a:pt x="374913" y="0"/>
                  </a:moveTo>
                  <a:lnTo>
                    <a:pt x="1403340" y="0"/>
                  </a:lnTo>
                  <a:lnTo>
                    <a:pt x="1765292" y="0"/>
                  </a:lnTo>
                  <a:lnTo>
                    <a:pt x="1773964" y="86029"/>
                  </a:lnTo>
                  <a:cubicBezTo>
                    <a:pt x="1773964" y="479066"/>
                    <a:pt x="1634568" y="839545"/>
                    <a:pt x="1402518" y="1120725"/>
                  </a:cubicBezTo>
                  <a:lnTo>
                    <a:pt x="139182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77" name="文本框 76"/>
            <p:cNvSpPr txBox="1"/>
            <p:nvPr>
              <p:custDataLst>
                <p:tags r:id="rId12"/>
              </p:custDataLst>
            </p:nvPr>
          </p:nvSpPr>
          <p:spPr>
            <a:xfrm>
              <a:off x="521971" y="1441787"/>
              <a:ext cx="1465760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快速</a:t>
              </a:r>
              <a:endParaRPr lang="zh-CN" altLang="en-US" sz="2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78" name="组合 77"/>
            <p:cNvGrpSpPr/>
            <p:nvPr/>
          </p:nvGrpSpPr>
          <p:grpSpPr>
            <a:xfrm>
              <a:off x="2408555" y="1225762"/>
              <a:ext cx="7967345" cy="888778"/>
              <a:chOff x="2413000" y="1191978"/>
              <a:chExt cx="8950325" cy="888778"/>
            </a:xfrm>
          </p:grpSpPr>
          <p:sp>
            <p:nvSpPr>
              <p:cNvPr id="79" name="文本框 78"/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2413000" y="1191978"/>
                <a:ext cx="7508875" cy="3371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auto">
                  <a:buClr>
                    <a:srgbClr val="F7A200"/>
                  </a:buClr>
                  <a:buSzTx/>
                </a:pP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起效极速，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3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分钟止痒、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15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分钟达峰（金标准 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CAC 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模型）</a:t>
                </a:r>
                <a:endParaRPr lang="zh-CN" altLang="en-US" sz="1600" b="1">
                  <a:solidFill>
                    <a:srgbClr val="0971CA"/>
                  </a:solidFill>
                  <a:effectLst/>
                  <a:latin typeface="+mn-ea"/>
                </a:endParaRPr>
              </a:p>
            </p:txBody>
          </p:sp>
          <p:sp>
            <p:nvSpPr>
              <p:cNvPr id="80" name="文本框 79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2413000" y="1531695"/>
                <a:ext cx="8950325" cy="54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两项随机、双盲、安慰剂对照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Ⅲ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期试验（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n=101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，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CAC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结膜过敏原激发模型，眼科药效金标准）：给药后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3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分钟眼痒显著降低，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15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分钟达最大疗效（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P&lt;0.0001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）；眼痒评分（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0–4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分）较溶媒组降幅</a:t>
                </a:r>
                <a:r>
                  <a:rPr lang="en-US" altLang="zh-CN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≥1</a:t>
                </a:r>
                <a:r>
                  <a:rPr lang="zh-CN" altLang="en-US" sz="1200" b="1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分（临床显著阈值）</a:t>
                </a:r>
                <a:r>
                  <a:rPr lang="en-US" altLang="zh-CN" sz="1200" b="1" baseline="30000" dirty="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4</a:t>
                </a:r>
                <a:endParaRPr lang="zh-CN" altLang="en-US" sz="1200" b="1" baseline="30000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</p:grpSp>
      </p:grpSp>
      <p:grpSp>
        <p:nvGrpSpPr>
          <p:cNvPr id="81" name="组合 80"/>
          <p:cNvGrpSpPr/>
          <p:nvPr>
            <p:custDataLst>
              <p:tags r:id="rId15"/>
            </p:custDataLst>
          </p:nvPr>
        </p:nvGrpSpPr>
        <p:grpSpPr>
          <a:xfrm>
            <a:off x="374649" y="3670663"/>
            <a:ext cx="11442700" cy="1132496"/>
            <a:chOff x="374649" y="1106371"/>
            <a:chExt cx="11442700" cy="1132496"/>
          </a:xfrm>
        </p:grpSpPr>
        <p:sp>
          <p:nvSpPr>
            <p:cNvPr id="82" name="任意多边形: 形状 81"/>
            <p:cNvSpPr/>
            <p:nvPr>
              <p:custDataLst>
                <p:tags r:id="rId16"/>
              </p:custDataLst>
            </p:nvPr>
          </p:nvSpPr>
          <p:spPr>
            <a:xfrm>
              <a:off x="374649" y="1106371"/>
              <a:ext cx="11442700" cy="1132496"/>
            </a:xfrm>
            <a:custGeom>
              <a:avLst/>
              <a:gdLst>
                <a:gd name="csX0" fmla="*/ 374913 w 11442700"/>
                <a:gd name="csY0" fmla="*/ 0 h 1132496"/>
                <a:gd name="csX1" fmla="*/ 1403340 w 11442700"/>
                <a:gd name="csY1" fmla="*/ 0 h 1132496"/>
                <a:gd name="csX2" fmla="*/ 10056990 w 11442700"/>
                <a:gd name="csY2" fmla="*/ 0 h 1132496"/>
                <a:gd name="csX3" fmla="*/ 11085417 w 11442700"/>
                <a:gd name="csY3" fmla="*/ 0 h 1132496"/>
                <a:gd name="csX4" fmla="*/ 11275189 w 11442700"/>
                <a:gd name="csY4" fmla="*/ 126090 h 1132496"/>
                <a:gd name="csX5" fmla="*/ 11426635 w 11442700"/>
                <a:gd name="csY5" fmla="*/ 486414 h 1132496"/>
                <a:gd name="csX6" fmla="*/ 11426635 w 11442700"/>
                <a:gd name="csY6" fmla="*/ 646082 h 1132496"/>
                <a:gd name="csX7" fmla="*/ 11275189 w 11442700"/>
                <a:gd name="csY7" fmla="*/ 1006406 h 1132496"/>
                <a:gd name="csX8" fmla="*/ 11085417 w 11442700"/>
                <a:gd name="csY8" fmla="*/ 1132496 h 1132496"/>
                <a:gd name="csX9" fmla="*/ 10056990 w 11442700"/>
                <a:gd name="csY9" fmla="*/ 1132496 h 1132496"/>
                <a:gd name="csX10" fmla="*/ 1403340 w 11442700"/>
                <a:gd name="csY10" fmla="*/ 1132496 h 1132496"/>
                <a:gd name="csX11" fmla="*/ 374913 w 11442700"/>
                <a:gd name="csY11" fmla="*/ 1132496 h 1132496"/>
                <a:gd name="csX12" fmla="*/ 185141 w 11442700"/>
                <a:gd name="csY12" fmla="*/ 1006406 h 1132496"/>
                <a:gd name="csX13" fmla="*/ 0 w 11442700"/>
                <a:gd name="csY13" fmla="*/ 566190 h 1132496"/>
                <a:gd name="csX14" fmla="*/ 185024 w 11442700"/>
                <a:gd name="csY14" fmla="*/ 126090 h 1132496"/>
                <a:gd name="csX15" fmla="*/ 374913 w 11442700"/>
                <a:gd name="csY15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11442700" h="1132496">
                  <a:moveTo>
                    <a:pt x="374913" y="0"/>
                  </a:moveTo>
                  <a:lnTo>
                    <a:pt x="1403340" y="0"/>
                  </a:lnTo>
                  <a:lnTo>
                    <a:pt x="10056990" y="0"/>
                  </a:lnTo>
                  <a:lnTo>
                    <a:pt x="11085417" y="0"/>
                  </a:lnTo>
                  <a:cubicBezTo>
                    <a:pt x="11168319" y="0"/>
                    <a:pt x="11243116" y="49672"/>
                    <a:pt x="11275189" y="126090"/>
                  </a:cubicBezTo>
                  <a:lnTo>
                    <a:pt x="11426635" y="486414"/>
                  </a:lnTo>
                  <a:cubicBezTo>
                    <a:pt x="11448055" y="537476"/>
                    <a:pt x="11448055" y="595020"/>
                    <a:pt x="11426635" y="646082"/>
                  </a:cubicBezTo>
                  <a:lnTo>
                    <a:pt x="11275189" y="1006406"/>
                  </a:lnTo>
                  <a:cubicBezTo>
                    <a:pt x="11243116" y="1082824"/>
                    <a:pt x="11168203" y="1132496"/>
                    <a:pt x="11085417" y="1132496"/>
                  </a:cubicBezTo>
                  <a:lnTo>
                    <a:pt x="10056990" y="1132496"/>
                  </a:lnTo>
                  <a:lnTo>
                    <a:pt x="140334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gradFill>
                <a:gsLst>
                  <a:gs pos="13000">
                    <a:srgbClr val="0971CA">
                      <a:alpha val="0"/>
                    </a:srgbClr>
                  </a:gs>
                  <a:gs pos="50000">
                    <a:srgbClr val="0971CA"/>
                  </a:gs>
                </a:gsLst>
                <a:lin ang="0" scaled="0"/>
              </a:gradFill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>
              <p:custDataLst>
                <p:tags r:id="rId17"/>
              </p:custDataLst>
            </p:nvPr>
          </p:nvSpPr>
          <p:spPr>
            <a:xfrm>
              <a:off x="416805" y="1106371"/>
              <a:ext cx="1881378" cy="1131568"/>
            </a:xfrm>
            <a:custGeom>
              <a:avLst/>
              <a:gdLst>
                <a:gd name="csX0" fmla="*/ 332759 w 1881378"/>
                <a:gd name="csY0" fmla="*/ 0 h 1131568"/>
                <a:gd name="csX1" fmla="*/ 1361185 w 1881378"/>
                <a:gd name="csY1" fmla="*/ 0 h 1131568"/>
                <a:gd name="csX2" fmla="*/ 1881378 w 1881378"/>
                <a:gd name="csY2" fmla="*/ 0 h 1131568"/>
                <a:gd name="csX3" fmla="*/ 1879891 w 1881378"/>
                <a:gd name="csY3" fmla="*/ 88118 h 1131568"/>
                <a:gd name="csX4" fmla="*/ 1365761 w 1881378"/>
                <a:gd name="csY4" fmla="*/ 1120617 h 1131568"/>
                <a:gd name="csX5" fmla="*/ 1353169 w 1881378"/>
                <a:gd name="csY5" fmla="*/ 1131568 h 1131568"/>
                <a:gd name="csX6" fmla="*/ 293580 w 1881378"/>
                <a:gd name="csY6" fmla="*/ 1006660 h 1131568"/>
                <a:gd name="csX7" fmla="*/ 111331 w 1881378"/>
                <a:gd name="csY7" fmla="*/ 851967 h 1131568"/>
                <a:gd name="csX8" fmla="*/ 0 w 1881378"/>
                <a:gd name="csY8" fmla="*/ 465922 h 1131568"/>
                <a:gd name="csX9" fmla="*/ 142869 w 1881378"/>
                <a:gd name="csY9" fmla="*/ 126090 h 1131568"/>
                <a:gd name="csX10" fmla="*/ 332759 w 1881378"/>
                <a:gd name="csY10" fmla="*/ 0 h 11315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881378" h="1131568">
                  <a:moveTo>
                    <a:pt x="332759" y="0"/>
                  </a:moveTo>
                  <a:lnTo>
                    <a:pt x="1361185" y="0"/>
                  </a:lnTo>
                  <a:lnTo>
                    <a:pt x="1881378" y="0"/>
                  </a:lnTo>
                  <a:lnTo>
                    <a:pt x="1879891" y="88118"/>
                  </a:lnTo>
                  <a:cubicBezTo>
                    <a:pt x="1831613" y="497651"/>
                    <a:pt x="1642089" y="856138"/>
                    <a:pt x="1365761" y="1120617"/>
                  </a:cubicBezTo>
                  <a:lnTo>
                    <a:pt x="1353169" y="1131568"/>
                  </a:lnTo>
                  <a:lnTo>
                    <a:pt x="293580" y="1006660"/>
                  </a:lnTo>
                  <a:cubicBezTo>
                    <a:pt x="207198" y="996477"/>
                    <a:pt x="135362" y="935533"/>
                    <a:pt x="111331" y="851967"/>
                  </a:cubicBezTo>
                  <a:lnTo>
                    <a:pt x="0" y="465922"/>
                  </a:lnTo>
                  <a:lnTo>
                    <a:pt x="142869" y="126090"/>
                  </a:lnTo>
                  <a:cubicBezTo>
                    <a:pt x="175058" y="49672"/>
                    <a:pt x="249857" y="0"/>
                    <a:pt x="332759" y="0"/>
                  </a:cubicBezTo>
                  <a:close/>
                </a:path>
              </a:pathLst>
            </a:custGeom>
            <a:solidFill>
              <a:srgbClr val="EFF7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4" name="任意多边形: 形状 83"/>
            <p:cNvSpPr/>
            <p:nvPr>
              <p:custDataLst>
                <p:tags r:id="rId18"/>
              </p:custDataLst>
            </p:nvPr>
          </p:nvSpPr>
          <p:spPr>
            <a:xfrm>
              <a:off x="374649" y="1106371"/>
              <a:ext cx="1773964" cy="1132496"/>
            </a:xfrm>
            <a:custGeom>
              <a:avLst/>
              <a:gdLst>
                <a:gd name="csX0" fmla="*/ 374913 w 1773964"/>
                <a:gd name="csY0" fmla="*/ 0 h 1132496"/>
                <a:gd name="csX1" fmla="*/ 1403340 w 1773964"/>
                <a:gd name="csY1" fmla="*/ 0 h 1132496"/>
                <a:gd name="csX2" fmla="*/ 1765292 w 1773964"/>
                <a:gd name="csY2" fmla="*/ 0 h 1132496"/>
                <a:gd name="csX3" fmla="*/ 1773964 w 1773964"/>
                <a:gd name="csY3" fmla="*/ 86029 h 1132496"/>
                <a:gd name="csX4" fmla="*/ 1402518 w 1773964"/>
                <a:gd name="csY4" fmla="*/ 1120725 h 1132496"/>
                <a:gd name="csX5" fmla="*/ 1391820 w 1773964"/>
                <a:gd name="csY5" fmla="*/ 1132496 h 1132496"/>
                <a:gd name="csX6" fmla="*/ 374913 w 1773964"/>
                <a:gd name="csY6" fmla="*/ 1132496 h 1132496"/>
                <a:gd name="csX7" fmla="*/ 185141 w 1773964"/>
                <a:gd name="csY7" fmla="*/ 1006406 h 1132496"/>
                <a:gd name="csX8" fmla="*/ 0 w 1773964"/>
                <a:gd name="csY8" fmla="*/ 566190 h 1132496"/>
                <a:gd name="csX9" fmla="*/ 185024 w 1773964"/>
                <a:gd name="csY9" fmla="*/ 126090 h 1132496"/>
                <a:gd name="csX10" fmla="*/ 374913 w 1773964"/>
                <a:gd name="csY10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773964" h="1132496">
                  <a:moveTo>
                    <a:pt x="374913" y="0"/>
                  </a:moveTo>
                  <a:lnTo>
                    <a:pt x="1403340" y="0"/>
                  </a:lnTo>
                  <a:lnTo>
                    <a:pt x="1765292" y="0"/>
                  </a:lnTo>
                  <a:lnTo>
                    <a:pt x="1773964" y="86029"/>
                  </a:lnTo>
                  <a:cubicBezTo>
                    <a:pt x="1773964" y="479066"/>
                    <a:pt x="1634568" y="839545"/>
                    <a:pt x="1402518" y="1120725"/>
                  </a:cubicBezTo>
                  <a:lnTo>
                    <a:pt x="139182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85" name="文本框 84"/>
            <p:cNvSpPr txBox="1"/>
            <p:nvPr>
              <p:custDataLst>
                <p:tags r:id="rId19"/>
              </p:custDataLst>
            </p:nvPr>
          </p:nvSpPr>
          <p:spPr>
            <a:xfrm>
              <a:off x="521971" y="1441787"/>
              <a:ext cx="1465760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长久</a:t>
              </a:r>
              <a:endParaRPr lang="zh-CN" altLang="en-US" sz="2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86" name="组合 85"/>
            <p:cNvGrpSpPr/>
            <p:nvPr/>
          </p:nvGrpSpPr>
          <p:grpSpPr>
            <a:xfrm>
              <a:off x="2408555" y="1164802"/>
              <a:ext cx="7974965" cy="1071237"/>
              <a:chOff x="2413000" y="1131018"/>
              <a:chExt cx="8958886" cy="1071237"/>
            </a:xfrm>
          </p:grpSpPr>
          <p:sp>
            <p:nvSpPr>
              <p:cNvPr id="87" name="文本框 86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2413000" y="1131018"/>
                <a:ext cx="750887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auto">
                  <a:buClr>
                    <a:srgbClr val="F7A200"/>
                  </a:buClr>
                  <a:buSzTx/>
                </a:pP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长效持久，单次作用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8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小时、每日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2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次覆盖全天</a:t>
                </a:r>
                <a:endParaRPr lang="zh-CN" altLang="en-US" sz="1600" b="1">
                  <a:solidFill>
                    <a:srgbClr val="0971CA"/>
                  </a:solidFill>
                  <a:effectLst/>
                  <a:latin typeface="+mn-ea"/>
                </a:endParaRPr>
              </a:p>
            </p:txBody>
          </p:sp>
          <p:sp>
            <p:nvSpPr>
              <p:cNvPr id="88" name="文本框 87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2421561" y="1391995"/>
                <a:ext cx="8950325" cy="8102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>
                  <a:lnSpc>
                    <a:spcPct val="130000"/>
                  </a:lnSpc>
                  <a:buFont typeface="Arial" panose="020B0604020202020204"/>
                </a:pPr>
                <a:r>
                  <a:rPr lang="zh-CN" altLang="en-US" sz="1200" b="1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Ⅲ期试验：给药后8小时复测，眼痒、结膜充血仍显著优于安慰剂（P&lt;0.0001），支持每8小时1次、每日2次给药，依从性优于每日3–4次的传统滴眼液。中国Ⅲ期：第14天眼痒评分较基线降低2.58分，非劣于依美斯汀（-2.43分）泪膜破裂时间显著延长，适合合并干眼患者</a:t>
                </a:r>
                <a:r>
                  <a:rPr lang="en-US" altLang="zh-CN" sz="1200" b="1" baseline="30000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4,5</a:t>
                </a:r>
                <a:endParaRPr lang="en-US" altLang="zh-CN" sz="1200" b="1" baseline="30000" dirty="0">
                  <a:gradFill>
                    <a:gsLst>
                      <a:gs pos="200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</p:grpSp>
      </p:grpSp>
      <p:grpSp>
        <p:nvGrpSpPr>
          <p:cNvPr id="89" name="组合 88"/>
          <p:cNvGrpSpPr/>
          <p:nvPr>
            <p:custDataLst>
              <p:tags r:id="rId22"/>
            </p:custDataLst>
          </p:nvPr>
        </p:nvGrpSpPr>
        <p:grpSpPr>
          <a:xfrm>
            <a:off x="374649" y="4952808"/>
            <a:ext cx="11442700" cy="1132496"/>
            <a:chOff x="374649" y="1106371"/>
            <a:chExt cx="11442700" cy="1132496"/>
          </a:xfrm>
        </p:grpSpPr>
        <p:sp>
          <p:nvSpPr>
            <p:cNvPr id="90" name="任意多边形: 形状 89"/>
            <p:cNvSpPr/>
            <p:nvPr>
              <p:custDataLst>
                <p:tags r:id="rId23"/>
              </p:custDataLst>
            </p:nvPr>
          </p:nvSpPr>
          <p:spPr>
            <a:xfrm>
              <a:off x="374649" y="1106371"/>
              <a:ext cx="11442700" cy="1132496"/>
            </a:xfrm>
            <a:custGeom>
              <a:avLst/>
              <a:gdLst>
                <a:gd name="csX0" fmla="*/ 374913 w 11442700"/>
                <a:gd name="csY0" fmla="*/ 0 h 1132496"/>
                <a:gd name="csX1" fmla="*/ 1403340 w 11442700"/>
                <a:gd name="csY1" fmla="*/ 0 h 1132496"/>
                <a:gd name="csX2" fmla="*/ 10056990 w 11442700"/>
                <a:gd name="csY2" fmla="*/ 0 h 1132496"/>
                <a:gd name="csX3" fmla="*/ 11085417 w 11442700"/>
                <a:gd name="csY3" fmla="*/ 0 h 1132496"/>
                <a:gd name="csX4" fmla="*/ 11275189 w 11442700"/>
                <a:gd name="csY4" fmla="*/ 126090 h 1132496"/>
                <a:gd name="csX5" fmla="*/ 11426635 w 11442700"/>
                <a:gd name="csY5" fmla="*/ 486414 h 1132496"/>
                <a:gd name="csX6" fmla="*/ 11426635 w 11442700"/>
                <a:gd name="csY6" fmla="*/ 646082 h 1132496"/>
                <a:gd name="csX7" fmla="*/ 11275189 w 11442700"/>
                <a:gd name="csY7" fmla="*/ 1006406 h 1132496"/>
                <a:gd name="csX8" fmla="*/ 11085417 w 11442700"/>
                <a:gd name="csY8" fmla="*/ 1132496 h 1132496"/>
                <a:gd name="csX9" fmla="*/ 10056990 w 11442700"/>
                <a:gd name="csY9" fmla="*/ 1132496 h 1132496"/>
                <a:gd name="csX10" fmla="*/ 1403340 w 11442700"/>
                <a:gd name="csY10" fmla="*/ 1132496 h 1132496"/>
                <a:gd name="csX11" fmla="*/ 374913 w 11442700"/>
                <a:gd name="csY11" fmla="*/ 1132496 h 1132496"/>
                <a:gd name="csX12" fmla="*/ 185141 w 11442700"/>
                <a:gd name="csY12" fmla="*/ 1006406 h 1132496"/>
                <a:gd name="csX13" fmla="*/ 0 w 11442700"/>
                <a:gd name="csY13" fmla="*/ 566190 h 1132496"/>
                <a:gd name="csX14" fmla="*/ 185024 w 11442700"/>
                <a:gd name="csY14" fmla="*/ 126090 h 1132496"/>
                <a:gd name="csX15" fmla="*/ 374913 w 11442700"/>
                <a:gd name="csY15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11442700" h="1132496">
                  <a:moveTo>
                    <a:pt x="374913" y="0"/>
                  </a:moveTo>
                  <a:lnTo>
                    <a:pt x="1403340" y="0"/>
                  </a:lnTo>
                  <a:lnTo>
                    <a:pt x="10056990" y="0"/>
                  </a:lnTo>
                  <a:lnTo>
                    <a:pt x="11085417" y="0"/>
                  </a:lnTo>
                  <a:cubicBezTo>
                    <a:pt x="11168319" y="0"/>
                    <a:pt x="11243116" y="49672"/>
                    <a:pt x="11275189" y="126090"/>
                  </a:cubicBezTo>
                  <a:lnTo>
                    <a:pt x="11426635" y="486414"/>
                  </a:lnTo>
                  <a:cubicBezTo>
                    <a:pt x="11448055" y="537476"/>
                    <a:pt x="11448055" y="595020"/>
                    <a:pt x="11426635" y="646082"/>
                  </a:cubicBezTo>
                  <a:lnTo>
                    <a:pt x="11275189" y="1006406"/>
                  </a:lnTo>
                  <a:cubicBezTo>
                    <a:pt x="11243116" y="1082824"/>
                    <a:pt x="11168203" y="1132496"/>
                    <a:pt x="11085417" y="1132496"/>
                  </a:cubicBezTo>
                  <a:lnTo>
                    <a:pt x="10056990" y="1132496"/>
                  </a:lnTo>
                  <a:lnTo>
                    <a:pt x="140334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gradFill>
                <a:gsLst>
                  <a:gs pos="13000">
                    <a:srgbClr val="0971CA">
                      <a:alpha val="0"/>
                    </a:srgbClr>
                  </a:gs>
                  <a:gs pos="50000">
                    <a:srgbClr val="0971CA"/>
                  </a:gs>
                </a:gsLst>
                <a:lin ang="0" scaled="0"/>
              </a:gradFill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>
              <p:custDataLst>
                <p:tags r:id="rId24"/>
              </p:custDataLst>
            </p:nvPr>
          </p:nvSpPr>
          <p:spPr>
            <a:xfrm>
              <a:off x="416805" y="1106371"/>
              <a:ext cx="1881378" cy="1131568"/>
            </a:xfrm>
            <a:custGeom>
              <a:avLst/>
              <a:gdLst>
                <a:gd name="csX0" fmla="*/ 332759 w 1881378"/>
                <a:gd name="csY0" fmla="*/ 0 h 1131568"/>
                <a:gd name="csX1" fmla="*/ 1361185 w 1881378"/>
                <a:gd name="csY1" fmla="*/ 0 h 1131568"/>
                <a:gd name="csX2" fmla="*/ 1881378 w 1881378"/>
                <a:gd name="csY2" fmla="*/ 0 h 1131568"/>
                <a:gd name="csX3" fmla="*/ 1879891 w 1881378"/>
                <a:gd name="csY3" fmla="*/ 88118 h 1131568"/>
                <a:gd name="csX4" fmla="*/ 1365761 w 1881378"/>
                <a:gd name="csY4" fmla="*/ 1120617 h 1131568"/>
                <a:gd name="csX5" fmla="*/ 1353169 w 1881378"/>
                <a:gd name="csY5" fmla="*/ 1131568 h 1131568"/>
                <a:gd name="csX6" fmla="*/ 293580 w 1881378"/>
                <a:gd name="csY6" fmla="*/ 1006660 h 1131568"/>
                <a:gd name="csX7" fmla="*/ 111331 w 1881378"/>
                <a:gd name="csY7" fmla="*/ 851967 h 1131568"/>
                <a:gd name="csX8" fmla="*/ 0 w 1881378"/>
                <a:gd name="csY8" fmla="*/ 465922 h 1131568"/>
                <a:gd name="csX9" fmla="*/ 142869 w 1881378"/>
                <a:gd name="csY9" fmla="*/ 126090 h 1131568"/>
                <a:gd name="csX10" fmla="*/ 332759 w 1881378"/>
                <a:gd name="csY10" fmla="*/ 0 h 11315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881378" h="1131568">
                  <a:moveTo>
                    <a:pt x="332759" y="0"/>
                  </a:moveTo>
                  <a:lnTo>
                    <a:pt x="1361185" y="0"/>
                  </a:lnTo>
                  <a:lnTo>
                    <a:pt x="1881378" y="0"/>
                  </a:lnTo>
                  <a:lnTo>
                    <a:pt x="1879891" y="88118"/>
                  </a:lnTo>
                  <a:cubicBezTo>
                    <a:pt x="1831613" y="497651"/>
                    <a:pt x="1642089" y="856138"/>
                    <a:pt x="1365761" y="1120617"/>
                  </a:cubicBezTo>
                  <a:lnTo>
                    <a:pt x="1353169" y="1131568"/>
                  </a:lnTo>
                  <a:lnTo>
                    <a:pt x="293580" y="1006660"/>
                  </a:lnTo>
                  <a:cubicBezTo>
                    <a:pt x="207198" y="996477"/>
                    <a:pt x="135362" y="935533"/>
                    <a:pt x="111331" y="851967"/>
                  </a:cubicBezTo>
                  <a:lnTo>
                    <a:pt x="0" y="465922"/>
                  </a:lnTo>
                  <a:lnTo>
                    <a:pt x="142869" y="126090"/>
                  </a:lnTo>
                  <a:cubicBezTo>
                    <a:pt x="175058" y="49672"/>
                    <a:pt x="249857" y="0"/>
                    <a:pt x="332759" y="0"/>
                  </a:cubicBezTo>
                  <a:close/>
                </a:path>
              </a:pathLst>
            </a:custGeom>
            <a:solidFill>
              <a:srgbClr val="EFF7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92" name="任意多边形: 形状 91"/>
            <p:cNvSpPr/>
            <p:nvPr>
              <p:custDataLst>
                <p:tags r:id="rId25"/>
              </p:custDataLst>
            </p:nvPr>
          </p:nvSpPr>
          <p:spPr>
            <a:xfrm>
              <a:off x="374649" y="1106371"/>
              <a:ext cx="1773964" cy="1132496"/>
            </a:xfrm>
            <a:custGeom>
              <a:avLst/>
              <a:gdLst>
                <a:gd name="csX0" fmla="*/ 374913 w 1773964"/>
                <a:gd name="csY0" fmla="*/ 0 h 1132496"/>
                <a:gd name="csX1" fmla="*/ 1403340 w 1773964"/>
                <a:gd name="csY1" fmla="*/ 0 h 1132496"/>
                <a:gd name="csX2" fmla="*/ 1765292 w 1773964"/>
                <a:gd name="csY2" fmla="*/ 0 h 1132496"/>
                <a:gd name="csX3" fmla="*/ 1773964 w 1773964"/>
                <a:gd name="csY3" fmla="*/ 86029 h 1132496"/>
                <a:gd name="csX4" fmla="*/ 1402518 w 1773964"/>
                <a:gd name="csY4" fmla="*/ 1120725 h 1132496"/>
                <a:gd name="csX5" fmla="*/ 1391820 w 1773964"/>
                <a:gd name="csY5" fmla="*/ 1132496 h 1132496"/>
                <a:gd name="csX6" fmla="*/ 374913 w 1773964"/>
                <a:gd name="csY6" fmla="*/ 1132496 h 1132496"/>
                <a:gd name="csX7" fmla="*/ 185141 w 1773964"/>
                <a:gd name="csY7" fmla="*/ 1006406 h 1132496"/>
                <a:gd name="csX8" fmla="*/ 0 w 1773964"/>
                <a:gd name="csY8" fmla="*/ 566190 h 1132496"/>
                <a:gd name="csX9" fmla="*/ 185024 w 1773964"/>
                <a:gd name="csY9" fmla="*/ 126090 h 1132496"/>
                <a:gd name="csX10" fmla="*/ 374913 w 1773964"/>
                <a:gd name="csY10" fmla="*/ 0 h 113249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773964" h="1132496">
                  <a:moveTo>
                    <a:pt x="374913" y="0"/>
                  </a:moveTo>
                  <a:lnTo>
                    <a:pt x="1403340" y="0"/>
                  </a:lnTo>
                  <a:lnTo>
                    <a:pt x="1765292" y="0"/>
                  </a:lnTo>
                  <a:lnTo>
                    <a:pt x="1773964" y="86029"/>
                  </a:lnTo>
                  <a:cubicBezTo>
                    <a:pt x="1773964" y="479066"/>
                    <a:pt x="1634568" y="839545"/>
                    <a:pt x="1402518" y="1120725"/>
                  </a:cubicBezTo>
                  <a:lnTo>
                    <a:pt x="1391820" y="1132496"/>
                  </a:lnTo>
                  <a:lnTo>
                    <a:pt x="374913" y="1132496"/>
                  </a:lnTo>
                  <a:cubicBezTo>
                    <a:pt x="292011" y="1132496"/>
                    <a:pt x="217213" y="1082824"/>
                    <a:pt x="185141" y="1006406"/>
                  </a:cubicBezTo>
                  <a:lnTo>
                    <a:pt x="0" y="566190"/>
                  </a:lnTo>
                  <a:lnTo>
                    <a:pt x="185024" y="126090"/>
                  </a:lnTo>
                  <a:cubicBezTo>
                    <a:pt x="217213" y="49672"/>
                    <a:pt x="292011" y="0"/>
                    <a:pt x="374913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93" name="文本框 92"/>
            <p:cNvSpPr txBox="1"/>
            <p:nvPr>
              <p:custDataLst>
                <p:tags r:id="rId26"/>
              </p:custDataLst>
            </p:nvPr>
          </p:nvSpPr>
          <p:spPr>
            <a:xfrm>
              <a:off x="521971" y="1441787"/>
              <a:ext cx="1465760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全面</a:t>
              </a:r>
              <a:endParaRPr lang="zh-CN" altLang="en-US" sz="2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94" name="组合 93"/>
            <p:cNvGrpSpPr/>
            <p:nvPr/>
          </p:nvGrpSpPr>
          <p:grpSpPr>
            <a:xfrm>
              <a:off x="2408555" y="1225762"/>
              <a:ext cx="7978775" cy="931455"/>
              <a:chOff x="2413000" y="1191978"/>
              <a:chExt cx="8963165" cy="931455"/>
            </a:xfrm>
          </p:grpSpPr>
          <p:sp>
            <p:nvSpPr>
              <p:cNvPr id="95" name="文本框 94"/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2413000" y="1191978"/>
                <a:ext cx="750887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auto">
                  <a:buClr>
                    <a:srgbClr val="F7A200"/>
                  </a:buClr>
                  <a:buSzTx/>
                </a:pP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全面控症，速发</a:t>
                </a:r>
                <a:r>
                  <a:rPr lang="en-US" altLang="zh-CN" sz="1600" b="1">
                    <a:solidFill>
                      <a:srgbClr val="0971CA"/>
                    </a:solidFill>
                    <a:effectLst/>
                    <a:latin typeface="+mn-ea"/>
                  </a:rPr>
                  <a:t>+</a:t>
                </a:r>
                <a:r>
                  <a:rPr lang="zh-CN" altLang="en-US" sz="1600" b="1">
                    <a:solidFill>
                      <a:srgbClr val="0971CA"/>
                    </a:solidFill>
                    <a:effectLst/>
                    <a:latin typeface="+mn-ea"/>
                  </a:rPr>
                  <a:t>迟发相双重抑制、多症状改善</a:t>
                </a:r>
                <a:endParaRPr lang="zh-CN" altLang="en-US" sz="1600" b="1">
                  <a:solidFill>
                    <a:srgbClr val="0971CA"/>
                  </a:solidFill>
                  <a:effectLst/>
                  <a:latin typeface="+mn-ea"/>
                </a:endParaRPr>
              </a:p>
            </p:txBody>
          </p:sp>
          <p:sp>
            <p:nvSpPr>
              <p:cNvPr id="96" name="文本框 95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2425840" y="1515738"/>
                <a:ext cx="8950325" cy="6076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>
                  <a:lnSpc>
                    <a:spcPct val="140000"/>
                  </a:lnSpc>
                  <a:buFont typeface="Arial" panose="020B0604020202020204"/>
                </a:pPr>
                <a:r>
                  <a:rPr lang="zh-CN" altLang="en-US" sz="1200" b="1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作用机制：高选择性H</a:t>
                </a:r>
                <a:r>
                  <a:rPr lang="zh-CN" altLang="en-US" sz="1200" b="1" baseline="-25000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1</a:t>
                </a:r>
                <a:r>
                  <a:rPr lang="zh-CN" altLang="en-US" sz="1200" b="1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受体拮抗剂，无抗胆碱能活性，全面缓解眼痒、充血、流泪、异物感、分泌物增多</a:t>
                </a:r>
                <a:endParaRPr lang="zh-CN" altLang="en-US" sz="1200" b="1" dirty="0">
                  <a:gradFill>
                    <a:gsLst>
                      <a:gs pos="200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  <a:p>
                <a:pPr lvl="0">
                  <a:lnSpc>
                    <a:spcPct val="140000"/>
                  </a:lnSpc>
                  <a:buFont typeface="Arial" panose="020B0604020202020204"/>
                </a:pPr>
                <a:r>
                  <a:rPr lang="zh-CN" altLang="en-US" sz="1200" b="1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临床数据：结膜充血、水肿、眼睑肿胀、流泪改善率&gt;50%；对伴随鼻过敏症状（流涕、鼻痒）也有显著缓解作用</a:t>
                </a:r>
                <a:r>
                  <a:rPr lang="zh-CN" altLang="en-US" sz="1200" b="1" baseline="30000" dirty="0">
                    <a:gradFill>
                      <a:gsLst>
                        <a:gs pos="2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2</a:t>
                </a:r>
                <a:endParaRPr lang="zh-CN" altLang="en-US" sz="1200" b="1" baseline="30000" dirty="0">
                  <a:gradFill>
                    <a:gsLst>
                      <a:gs pos="200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</p:grpSp>
      </p:grpSp>
      <p:sp>
        <p:nvSpPr>
          <p:cNvPr id="99" name="图形 97"/>
          <p:cNvSpPr/>
          <p:nvPr>
            <p:custDataLst>
              <p:tags r:id="rId29"/>
            </p:custDataLst>
          </p:nvPr>
        </p:nvSpPr>
        <p:spPr>
          <a:xfrm>
            <a:off x="10643015" y="1304481"/>
            <a:ext cx="760333" cy="760333"/>
          </a:xfrm>
          <a:custGeom>
            <a:avLst/>
            <a:gdLst>
              <a:gd name="csX0" fmla="*/ 760078 w 760333"/>
              <a:gd name="csY0" fmla="*/ 428875 h 760333"/>
              <a:gd name="csX1" fmla="*/ 759824 w 760333"/>
              <a:gd name="csY1" fmla="*/ 426754 h 760333"/>
              <a:gd name="csX2" fmla="*/ 759230 w 760333"/>
              <a:gd name="csY2" fmla="*/ 423444 h 760333"/>
              <a:gd name="csX3" fmla="*/ 758721 w 760333"/>
              <a:gd name="csY3" fmla="*/ 421238 h 760333"/>
              <a:gd name="csX4" fmla="*/ 758042 w 760333"/>
              <a:gd name="csY4" fmla="*/ 418692 h 760333"/>
              <a:gd name="csX5" fmla="*/ 757363 w 760333"/>
              <a:gd name="csY5" fmla="*/ 416486 h 760333"/>
              <a:gd name="csX6" fmla="*/ 756345 w 760333"/>
              <a:gd name="csY6" fmla="*/ 413855 h 760333"/>
              <a:gd name="csX7" fmla="*/ 754987 w 760333"/>
              <a:gd name="csY7" fmla="*/ 410800 h 760333"/>
              <a:gd name="csX8" fmla="*/ 753375 w 760333"/>
              <a:gd name="csY8" fmla="*/ 407746 h 760333"/>
              <a:gd name="csX9" fmla="*/ 750320 w 760333"/>
              <a:gd name="csY9" fmla="*/ 402909 h 760333"/>
              <a:gd name="csX10" fmla="*/ 749726 w 760333"/>
              <a:gd name="csY10" fmla="*/ 402145 h 760333"/>
              <a:gd name="csX11" fmla="*/ 745568 w 760333"/>
              <a:gd name="csY11" fmla="*/ 397223 h 760333"/>
              <a:gd name="csX12" fmla="*/ 744210 w 760333"/>
              <a:gd name="csY12" fmla="*/ 395865 h 760333"/>
              <a:gd name="csX13" fmla="*/ 738949 w 760333"/>
              <a:gd name="csY13" fmla="*/ 391283 h 760333"/>
              <a:gd name="csX14" fmla="*/ 736063 w 760333"/>
              <a:gd name="csY14" fmla="*/ 389246 h 760333"/>
              <a:gd name="csX15" fmla="*/ 733093 w 760333"/>
              <a:gd name="csY15" fmla="*/ 387379 h 760333"/>
              <a:gd name="csX16" fmla="*/ 733178 w 760333"/>
              <a:gd name="csY16" fmla="*/ 380167 h 760333"/>
              <a:gd name="csX17" fmla="*/ 380167 w 760333"/>
              <a:gd name="csY17" fmla="*/ 0 h 760333"/>
              <a:gd name="csX18" fmla="*/ 335191 w 760333"/>
              <a:gd name="csY18" fmla="*/ 3055 h 760333"/>
              <a:gd name="csX19" fmla="*/ 326366 w 760333"/>
              <a:gd name="csY19" fmla="*/ 4413 h 760333"/>
              <a:gd name="csX20" fmla="*/ 321954 w 760333"/>
              <a:gd name="csY20" fmla="*/ 5176 h 760333"/>
              <a:gd name="csX21" fmla="*/ 308970 w 760333"/>
              <a:gd name="csY21" fmla="*/ 7807 h 760333"/>
              <a:gd name="csX22" fmla="*/ 291914 w 760333"/>
              <a:gd name="csY22" fmla="*/ 12050 h 760333"/>
              <a:gd name="csX23" fmla="*/ 283513 w 760333"/>
              <a:gd name="csY23" fmla="*/ 14511 h 760333"/>
              <a:gd name="csX24" fmla="*/ 279355 w 760333"/>
              <a:gd name="csY24" fmla="*/ 15784 h 760333"/>
              <a:gd name="csX25" fmla="*/ 266965 w 760333"/>
              <a:gd name="csY25" fmla="*/ 20027 h 760333"/>
              <a:gd name="csX26" fmla="*/ 258819 w 760333"/>
              <a:gd name="csY26" fmla="*/ 23082 h 760333"/>
              <a:gd name="csX27" fmla="*/ 246769 w 760333"/>
              <a:gd name="csY27" fmla="*/ 28088 h 760333"/>
              <a:gd name="csX28" fmla="*/ 238877 w 760333"/>
              <a:gd name="csY28" fmla="*/ 31737 h 760333"/>
              <a:gd name="csX29" fmla="*/ 219529 w 760333"/>
              <a:gd name="csY29" fmla="*/ 41581 h 760333"/>
              <a:gd name="csX30" fmla="*/ 211977 w 760333"/>
              <a:gd name="csY30" fmla="*/ 45908 h 760333"/>
              <a:gd name="csX31" fmla="*/ 197211 w 760333"/>
              <a:gd name="csY31" fmla="*/ 55073 h 760333"/>
              <a:gd name="csX32" fmla="*/ 182870 w 760333"/>
              <a:gd name="csY32" fmla="*/ 65002 h 760333"/>
              <a:gd name="csX33" fmla="*/ 179391 w 760333"/>
              <a:gd name="csY33" fmla="*/ 67547 h 760333"/>
              <a:gd name="csX34" fmla="*/ 169038 w 760333"/>
              <a:gd name="csY34" fmla="*/ 75524 h 760333"/>
              <a:gd name="csX35" fmla="*/ 159025 w 760333"/>
              <a:gd name="csY35" fmla="*/ 83925 h 760333"/>
              <a:gd name="csX36" fmla="*/ 149266 w 760333"/>
              <a:gd name="csY36" fmla="*/ 92666 h 760333"/>
              <a:gd name="csX37" fmla="*/ 142902 w 760333"/>
              <a:gd name="csY37" fmla="*/ 98691 h 760333"/>
              <a:gd name="csX38" fmla="*/ 133652 w 760333"/>
              <a:gd name="csY38" fmla="*/ 108110 h 760333"/>
              <a:gd name="csX39" fmla="*/ 124742 w 760333"/>
              <a:gd name="csY39" fmla="*/ 117869 h 760333"/>
              <a:gd name="csX40" fmla="*/ 118972 w 760333"/>
              <a:gd name="csY40" fmla="*/ 124572 h 760333"/>
              <a:gd name="csX41" fmla="*/ 107855 w 760333"/>
              <a:gd name="csY41" fmla="*/ 138404 h 760333"/>
              <a:gd name="csX42" fmla="*/ 102509 w 760333"/>
              <a:gd name="csY42" fmla="*/ 145532 h 760333"/>
              <a:gd name="csX43" fmla="*/ 82822 w 760333"/>
              <a:gd name="csY43" fmla="*/ 175318 h 760333"/>
              <a:gd name="csX44" fmla="*/ 78324 w 760333"/>
              <a:gd name="csY44" fmla="*/ 183125 h 760333"/>
              <a:gd name="csX45" fmla="*/ 63899 w 760333"/>
              <a:gd name="csY45" fmla="*/ 211298 h 760333"/>
              <a:gd name="csX46" fmla="*/ 60165 w 760333"/>
              <a:gd name="csY46" fmla="*/ 219614 h 760333"/>
              <a:gd name="csX47" fmla="*/ 51679 w 760333"/>
              <a:gd name="csY47" fmla="*/ 240829 h 760333"/>
              <a:gd name="csX48" fmla="*/ 48624 w 760333"/>
              <a:gd name="csY48" fmla="*/ 249484 h 760333"/>
              <a:gd name="csX49" fmla="*/ 41835 w 760333"/>
              <a:gd name="csY49" fmla="*/ 271632 h 760333"/>
              <a:gd name="csX50" fmla="*/ 39459 w 760333"/>
              <a:gd name="csY50" fmla="*/ 280627 h 760333"/>
              <a:gd name="csX51" fmla="*/ 27155 w 760333"/>
              <a:gd name="csY51" fmla="*/ 380167 h 760333"/>
              <a:gd name="csX52" fmla="*/ 27240 w 760333"/>
              <a:gd name="csY52" fmla="*/ 387379 h 760333"/>
              <a:gd name="csX53" fmla="*/ 24270 w 760333"/>
              <a:gd name="csY53" fmla="*/ 389246 h 760333"/>
              <a:gd name="csX54" fmla="*/ 21384 w 760333"/>
              <a:gd name="csY54" fmla="*/ 391283 h 760333"/>
              <a:gd name="csX55" fmla="*/ 16123 w 760333"/>
              <a:gd name="csY55" fmla="*/ 395865 h 760333"/>
              <a:gd name="csX56" fmla="*/ 14765 w 760333"/>
              <a:gd name="csY56" fmla="*/ 397223 h 760333"/>
              <a:gd name="csX57" fmla="*/ 10607 w 760333"/>
              <a:gd name="csY57" fmla="*/ 402145 h 760333"/>
              <a:gd name="csX58" fmla="*/ 10013 w 760333"/>
              <a:gd name="csY58" fmla="*/ 402909 h 760333"/>
              <a:gd name="csX59" fmla="*/ 6958 w 760333"/>
              <a:gd name="csY59" fmla="*/ 407746 h 760333"/>
              <a:gd name="csX60" fmla="*/ 5346 w 760333"/>
              <a:gd name="csY60" fmla="*/ 410800 h 760333"/>
              <a:gd name="csX61" fmla="*/ 3988 w 760333"/>
              <a:gd name="csY61" fmla="*/ 413855 h 760333"/>
              <a:gd name="csX62" fmla="*/ 2970 w 760333"/>
              <a:gd name="csY62" fmla="*/ 416486 h 760333"/>
              <a:gd name="csX63" fmla="*/ 2291 w 760333"/>
              <a:gd name="csY63" fmla="*/ 418692 h 760333"/>
              <a:gd name="csX64" fmla="*/ 1612 w 760333"/>
              <a:gd name="csY64" fmla="*/ 421238 h 760333"/>
              <a:gd name="csX65" fmla="*/ 1103 w 760333"/>
              <a:gd name="csY65" fmla="*/ 423444 h 760333"/>
              <a:gd name="csX66" fmla="*/ 509 w 760333"/>
              <a:gd name="csY66" fmla="*/ 426754 h 760333"/>
              <a:gd name="csX67" fmla="*/ 255 w 760333"/>
              <a:gd name="csY67" fmla="*/ 428875 h 760333"/>
              <a:gd name="csX68" fmla="*/ 0 w 760333"/>
              <a:gd name="csY68" fmla="*/ 434476 h 760333"/>
              <a:gd name="csX69" fmla="*/ 764 w 760333"/>
              <a:gd name="csY69" fmla="*/ 443810 h 760333"/>
              <a:gd name="csX70" fmla="*/ 1782 w 760333"/>
              <a:gd name="csY70" fmla="*/ 448308 h 760333"/>
              <a:gd name="csX71" fmla="*/ 3140 w 760333"/>
              <a:gd name="csY71" fmla="*/ 452636 h 760333"/>
              <a:gd name="csX72" fmla="*/ 10438 w 760333"/>
              <a:gd name="csY72" fmla="*/ 466468 h 760333"/>
              <a:gd name="csX73" fmla="*/ 41326 w 760333"/>
              <a:gd name="csY73" fmla="*/ 487173 h 760333"/>
              <a:gd name="csX74" fmla="*/ 46418 w 760333"/>
              <a:gd name="csY74" fmla="*/ 504230 h 760333"/>
              <a:gd name="csX75" fmla="*/ 50491 w 760333"/>
              <a:gd name="csY75" fmla="*/ 516280 h 760333"/>
              <a:gd name="csX76" fmla="*/ 58722 w 760333"/>
              <a:gd name="csY76" fmla="*/ 537409 h 760333"/>
              <a:gd name="csX77" fmla="*/ 63135 w 760333"/>
              <a:gd name="csY77" fmla="*/ 547423 h 760333"/>
              <a:gd name="csX78" fmla="*/ 69754 w 760333"/>
              <a:gd name="csY78" fmla="*/ 561170 h 760333"/>
              <a:gd name="csX79" fmla="*/ 72639 w 760333"/>
              <a:gd name="csY79" fmla="*/ 566771 h 760333"/>
              <a:gd name="csX80" fmla="*/ 78494 w 760333"/>
              <a:gd name="csY80" fmla="*/ 577548 h 760333"/>
              <a:gd name="csX81" fmla="*/ 86047 w 760333"/>
              <a:gd name="csY81" fmla="*/ 590276 h 760333"/>
              <a:gd name="csX82" fmla="*/ 89950 w 760333"/>
              <a:gd name="csY82" fmla="*/ 596471 h 760333"/>
              <a:gd name="csX83" fmla="*/ 98097 w 760333"/>
              <a:gd name="csY83" fmla="*/ 608691 h 760333"/>
              <a:gd name="csX84" fmla="*/ 122960 w 760333"/>
              <a:gd name="csY84" fmla="*/ 640428 h 760333"/>
              <a:gd name="csX85" fmla="*/ 130088 w 760333"/>
              <a:gd name="csY85" fmla="*/ 648320 h 760333"/>
              <a:gd name="csX86" fmla="*/ 226403 w 760333"/>
              <a:gd name="csY86" fmla="*/ 722401 h 760333"/>
              <a:gd name="csX87" fmla="*/ 239216 w 760333"/>
              <a:gd name="csY87" fmla="*/ 728766 h 760333"/>
              <a:gd name="csX88" fmla="*/ 314231 w 760333"/>
              <a:gd name="csY88" fmla="*/ 753714 h 760333"/>
              <a:gd name="csX89" fmla="*/ 321360 w 760333"/>
              <a:gd name="csY89" fmla="*/ 755072 h 760333"/>
              <a:gd name="csX90" fmla="*/ 343083 w 760333"/>
              <a:gd name="csY90" fmla="*/ 758296 h 760333"/>
              <a:gd name="csX91" fmla="*/ 380167 w 760333"/>
              <a:gd name="csY91" fmla="*/ 760333 h 760333"/>
              <a:gd name="csX92" fmla="*/ 417250 w 760333"/>
              <a:gd name="csY92" fmla="*/ 758296 h 760333"/>
              <a:gd name="csX93" fmla="*/ 438974 w 760333"/>
              <a:gd name="csY93" fmla="*/ 755072 h 760333"/>
              <a:gd name="csX94" fmla="*/ 446102 w 760333"/>
              <a:gd name="csY94" fmla="*/ 753714 h 760333"/>
              <a:gd name="csX95" fmla="*/ 521117 w 760333"/>
              <a:gd name="csY95" fmla="*/ 728766 h 760333"/>
              <a:gd name="csX96" fmla="*/ 533930 w 760333"/>
              <a:gd name="csY96" fmla="*/ 722401 h 760333"/>
              <a:gd name="csX97" fmla="*/ 630245 w 760333"/>
              <a:gd name="csY97" fmla="*/ 648320 h 760333"/>
              <a:gd name="csX98" fmla="*/ 637373 w 760333"/>
              <a:gd name="csY98" fmla="*/ 640428 h 760333"/>
              <a:gd name="csX99" fmla="*/ 662237 w 760333"/>
              <a:gd name="csY99" fmla="*/ 608691 h 760333"/>
              <a:gd name="csX100" fmla="*/ 670383 w 760333"/>
              <a:gd name="csY100" fmla="*/ 596471 h 760333"/>
              <a:gd name="csX101" fmla="*/ 674286 w 760333"/>
              <a:gd name="csY101" fmla="*/ 590276 h 760333"/>
              <a:gd name="csX102" fmla="*/ 681839 w 760333"/>
              <a:gd name="csY102" fmla="*/ 577548 h 760333"/>
              <a:gd name="csX103" fmla="*/ 687694 w 760333"/>
              <a:gd name="csY103" fmla="*/ 566771 h 760333"/>
              <a:gd name="csX104" fmla="*/ 690579 w 760333"/>
              <a:gd name="csY104" fmla="*/ 561170 h 760333"/>
              <a:gd name="csX105" fmla="*/ 697198 w 760333"/>
              <a:gd name="csY105" fmla="*/ 547423 h 760333"/>
              <a:gd name="csX106" fmla="*/ 701611 w 760333"/>
              <a:gd name="csY106" fmla="*/ 537409 h 760333"/>
              <a:gd name="csX107" fmla="*/ 709842 w 760333"/>
              <a:gd name="csY107" fmla="*/ 516280 h 760333"/>
              <a:gd name="csX108" fmla="*/ 713915 w 760333"/>
              <a:gd name="csY108" fmla="*/ 504230 h 760333"/>
              <a:gd name="csX109" fmla="*/ 719007 w 760333"/>
              <a:gd name="csY109" fmla="*/ 487173 h 760333"/>
              <a:gd name="csX110" fmla="*/ 749895 w 760333"/>
              <a:gd name="csY110" fmla="*/ 466468 h 760333"/>
              <a:gd name="csX111" fmla="*/ 757193 w 760333"/>
              <a:gd name="csY111" fmla="*/ 452636 h 760333"/>
              <a:gd name="csX112" fmla="*/ 758551 w 760333"/>
              <a:gd name="csY112" fmla="*/ 448308 h 760333"/>
              <a:gd name="csX113" fmla="*/ 759569 w 760333"/>
              <a:gd name="csY113" fmla="*/ 443810 h 760333"/>
              <a:gd name="csX114" fmla="*/ 760333 w 760333"/>
              <a:gd name="csY114" fmla="*/ 434476 h 760333"/>
              <a:gd name="csX115" fmla="*/ 760078 w 760333"/>
              <a:gd name="csY115" fmla="*/ 428875 h 760333"/>
              <a:gd name="csX116" fmla="*/ 380167 w 760333"/>
              <a:gd name="csY116" fmla="*/ 733178 h 760333"/>
              <a:gd name="csX117" fmla="*/ 342829 w 760333"/>
              <a:gd name="csY117" fmla="*/ 695841 h 760333"/>
              <a:gd name="csX118" fmla="*/ 380167 w 760333"/>
              <a:gd name="csY118" fmla="*/ 658503 h 760333"/>
              <a:gd name="csX119" fmla="*/ 417504 w 760333"/>
              <a:gd name="csY119" fmla="*/ 695841 h 760333"/>
              <a:gd name="csX120" fmla="*/ 380167 w 760333"/>
              <a:gd name="csY120" fmla="*/ 733178 h 760333"/>
              <a:gd name="csX121" fmla="*/ 429894 w 760333"/>
              <a:gd name="csY121" fmla="*/ 654854 h 760333"/>
              <a:gd name="csX122" fmla="*/ 425736 w 760333"/>
              <a:gd name="csY122" fmla="*/ 650271 h 760333"/>
              <a:gd name="csX123" fmla="*/ 418692 w 760333"/>
              <a:gd name="csY123" fmla="*/ 644162 h 760333"/>
              <a:gd name="csX124" fmla="*/ 413516 w 760333"/>
              <a:gd name="csY124" fmla="*/ 640682 h 760333"/>
              <a:gd name="csX125" fmla="*/ 402230 w 760333"/>
              <a:gd name="csY125" fmla="*/ 635251 h 760333"/>
              <a:gd name="csX126" fmla="*/ 396205 w 760333"/>
              <a:gd name="csY126" fmla="*/ 633385 h 760333"/>
              <a:gd name="csX127" fmla="*/ 380082 w 760333"/>
              <a:gd name="csY127" fmla="*/ 631348 h 760333"/>
              <a:gd name="csX128" fmla="*/ 363959 w 760333"/>
              <a:gd name="csY128" fmla="*/ 633385 h 760333"/>
              <a:gd name="csX129" fmla="*/ 357934 w 760333"/>
              <a:gd name="csY129" fmla="*/ 635251 h 760333"/>
              <a:gd name="csX130" fmla="*/ 346647 w 760333"/>
              <a:gd name="csY130" fmla="*/ 640682 h 760333"/>
              <a:gd name="csX131" fmla="*/ 341471 w 760333"/>
              <a:gd name="csY131" fmla="*/ 644162 h 760333"/>
              <a:gd name="csX132" fmla="*/ 334428 w 760333"/>
              <a:gd name="csY132" fmla="*/ 650271 h 760333"/>
              <a:gd name="csX133" fmla="*/ 330270 w 760333"/>
              <a:gd name="csY133" fmla="*/ 654854 h 760333"/>
              <a:gd name="csX134" fmla="*/ 326536 w 760333"/>
              <a:gd name="csY134" fmla="*/ 659860 h 760333"/>
              <a:gd name="csX135" fmla="*/ 323311 w 760333"/>
              <a:gd name="csY135" fmla="*/ 665207 h 760333"/>
              <a:gd name="csX136" fmla="*/ 320596 w 760333"/>
              <a:gd name="csY136" fmla="*/ 670807 h 760333"/>
              <a:gd name="csX137" fmla="*/ 318389 w 760333"/>
              <a:gd name="csY137" fmla="*/ 676747 h 760333"/>
              <a:gd name="csX138" fmla="*/ 316862 w 760333"/>
              <a:gd name="csY138" fmla="*/ 682857 h 760333"/>
              <a:gd name="csX139" fmla="*/ 298702 w 760333"/>
              <a:gd name="csY139" fmla="*/ 631348 h 760333"/>
              <a:gd name="csX140" fmla="*/ 380167 w 760333"/>
              <a:gd name="csY140" fmla="*/ 549884 h 760333"/>
              <a:gd name="csX141" fmla="*/ 461631 w 760333"/>
              <a:gd name="csY141" fmla="*/ 631348 h 760333"/>
              <a:gd name="csX142" fmla="*/ 443301 w 760333"/>
              <a:gd name="csY142" fmla="*/ 682772 h 760333"/>
              <a:gd name="csX143" fmla="*/ 441774 w 760333"/>
              <a:gd name="csY143" fmla="*/ 676662 h 760333"/>
              <a:gd name="csX144" fmla="*/ 439568 w 760333"/>
              <a:gd name="csY144" fmla="*/ 670722 h 760333"/>
              <a:gd name="csX145" fmla="*/ 436852 w 760333"/>
              <a:gd name="csY145" fmla="*/ 665122 h 760333"/>
              <a:gd name="csX146" fmla="*/ 433627 w 760333"/>
              <a:gd name="csY146" fmla="*/ 659776 h 760333"/>
              <a:gd name="csX147" fmla="*/ 429894 w 760333"/>
              <a:gd name="csY147" fmla="*/ 654854 h 760333"/>
              <a:gd name="csX148" fmla="*/ 712558 w 760333"/>
              <a:gd name="csY148" fmla="*/ 460867 h 760333"/>
              <a:gd name="csX149" fmla="*/ 692786 w 760333"/>
              <a:gd name="csY149" fmla="*/ 480130 h 760333"/>
              <a:gd name="csX150" fmla="*/ 647641 w 760333"/>
              <a:gd name="csY150" fmla="*/ 581791 h 760333"/>
              <a:gd name="csX151" fmla="*/ 576444 w 760333"/>
              <a:gd name="csY151" fmla="*/ 661982 h 760333"/>
              <a:gd name="csX152" fmla="*/ 485391 w 760333"/>
              <a:gd name="csY152" fmla="*/ 714425 h 760333"/>
              <a:gd name="csX153" fmla="*/ 436088 w 760333"/>
              <a:gd name="csY153" fmla="*/ 728002 h 760333"/>
              <a:gd name="csX154" fmla="*/ 438804 w 760333"/>
              <a:gd name="csY154" fmla="*/ 722826 h 760333"/>
              <a:gd name="csX155" fmla="*/ 487088 w 760333"/>
              <a:gd name="csY155" fmla="*/ 650611 h 760333"/>
              <a:gd name="csX156" fmla="*/ 533421 w 760333"/>
              <a:gd name="csY156" fmla="*/ 634318 h 760333"/>
              <a:gd name="csX157" fmla="*/ 540634 w 760333"/>
              <a:gd name="csY157" fmla="*/ 616498 h 760333"/>
              <a:gd name="csX158" fmla="*/ 522814 w 760333"/>
              <a:gd name="csY158" fmla="*/ 609285 h 760333"/>
              <a:gd name="csX159" fmla="*/ 488361 w 760333"/>
              <a:gd name="csY159" fmla="*/ 621844 h 760333"/>
              <a:gd name="csX160" fmla="*/ 380167 w 760333"/>
              <a:gd name="csY160" fmla="*/ 522729 h 760333"/>
              <a:gd name="csX161" fmla="*/ 271972 w 760333"/>
              <a:gd name="csY161" fmla="*/ 621929 h 760333"/>
              <a:gd name="csX162" fmla="*/ 237519 w 760333"/>
              <a:gd name="csY162" fmla="*/ 609370 h 760333"/>
              <a:gd name="csX163" fmla="*/ 219699 w 760333"/>
              <a:gd name="csY163" fmla="*/ 616583 h 760333"/>
              <a:gd name="csX164" fmla="*/ 226912 w 760333"/>
              <a:gd name="csY164" fmla="*/ 634403 h 760333"/>
              <a:gd name="csX165" fmla="*/ 273245 w 760333"/>
              <a:gd name="csY165" fmla="*/ 650696 h 760333"/>
              <a:gd name="csX166" fmla="*/ 321529 w 760333"/>
              <a:gd name="csY166" fmla="*/ 722910 h 760333"/>
              <a:gd name="csX167" fmla="*/ 324245 w 760333"/>
              <a:gd name="csY167" fmla="*/ 728087 h 760333"/>
              <a:gd name="csX168" fmla="*/ 274942 w 760333"/>
              <a:gd name="csY168" fmla="*/ 714509 h 760333"/>
              <a:gd name="csX169" fmla="*/ 183889 w 760333"/>
              <a:gd name="csY169" fmla="*/ 662067 h 760333"/>
              <a:gd name="csX170" fmla="*/ 112692 w 760333"/>
              <a:gd name="csY170" fmla="*/ 581875 h 760333"/>
              <a:gd name="csX171" fmla="*/ 67547 w 760333"/>
              <a:gd name="csY171" fmla="*/ 480215 h 760333"/>
              <a:gd name="csX172" fmla="*/ 47775 w 760333"/>
              <a:gd name="csY172" fmla="*/ 460952 h 760333"/>
              <a:gd name="csX173" fmla="*/ 27155 w 760333"/>
              <a:gd name="csY173" fmla="*/ 434476 h 760333"/>
              <a:gd name="csX174" fmla="*/ 40817 w 760333"/>
              <a:gd name="csY174" fmla="*/ 410970 h 760333"/>
              <a:gd name="csX175" fmla="*/ 54394 w 760333"/>
              <a:gd name="csY175" fmla="*/ 386955 h 760333"/>
              <a:gd name="csX176" fmla="*/ 54310 w 760333"/>
              <a:gd name="csY176" fmla="*/ 380167 h 760333"/>
              <a:gd name="csX177" fmla="*/ 80191 w 760333"/>
              <a:gd name="csY177" fmla="*/ 242102 h 760333"/>
              <a:gd name="csX178" fmla="*/ 150454 w 760333"/>
              <a:gd name="csY178" fmla="*/ 129834 h 760333"/>
              <a:gd name="csX179" fmla="*/ 253982 w 760333"/>
              <a:gd name="csY179" fmla="*/ 54564 h 760333"/>
              <a:gd name="csX180" fmla="*/ 380167 w 760333"/>
              <a:gd name="csY180" fmla="*/ 27155 h 760333"/>
              <a:gd name="csX181" fmla="*/ 506351 w 760333"/>
              <a:gd name="csY181" fmla="*/ 54564 h 760333"/>
              <a:gd name="csX182" fmla="*/ 609879 w 760333"/>
              <a:gd name="csY182" fmla="*/ 129834 h 760333"/>
              <a:gd name="csX183" fmla="*/ 680142 w 760333"/>
              <a:gd name="csY183" fmla="*/ 242102 h 760333"/>
              <a:gd name="csX184" fmla="*/ 706024 w 760333"/>
              <a:gd name="csY184" fmla="*/ 380167 h 760333"/>
              <a:gd name="csX185" fmla="*/ 705939 w 760333"/>
              <a:gd name="csY185" fmla="*/ 386955 h 760333"/>
              <a:gd name="csX186" fmla="*/ 719516 w 760333"/>
              <a:gd name="csY186" fmla="*/ 410970 h 760333"/>
              <a:gd name="csX187" fmla="*/ 733178 w 760333"/>
              <a:gd name="csY187" fmla="*/ 434476 h 760333"/>
              <a:gd name="csX188" fmla="*/ 712558 w 760333"/>
              <a:gd name="csY188" fmla="*/ 460867 h 760333"/>
              <a:gd name="csX189" fmla="*/ 610982 w 760333"/>
              <a:gd name="csY189" fmla="*/ 434476 h 760333"/>
              <a:gd name="csX190" fmla="*/ 597405 w 760333"/>
              <a:gd name="csY190" fmla="*/ 448053 h 760333"/>
              <a:gd name="csX191" fmla="*/ 583827 w 760333"/>
              <a:gd name="csY191" fmla="*/ 434476 h 760333"/>
              <a:gd name="csX192" fmla="*/ 543095 w 760333"/>
              <a:gd name="csY192" fmla="*/ 393744 h 760333"/>
              <a:gd name="csX193" fmla="*/ 502363 w 760333"/>
              <a:gd name="csY193" fmla="*/ 434476 h 760333"/>
              <a:gd name="csX194" fmla="*/ 488786 w 760333"/>
              <a:gd name="csY194" fmla="*/ 448053 h 760333"/>
              <a:gd name="csX195" fmla="*/ 475208 w 760333"/>
              <a:gd name="csY195" fmla="*/ 434476 h 760333"/>
              <a:gd name="csX196" fmla="*/ 543095 w 760333"/>
              <a:gd name="csY196" fmla="*/ 366589 h 760333"/>
              <a:gd name="csX197" fmla="*/ 610982 w 760333"/>
              <a:gd name="csY197" fmla="*/ 434476 h 760333"/>
              <a:gd name="csX198" fmla="*/ 475463 w 760333"/>
              <a:gd name="csY198" fmla="*/ 204085 h 760333"/>
              <a:gd name="csX199" fmla="*/ 450684 w 760333"/>
              <a:gd name="csY199" fmla="*/ 258055 h 760333"/>
              <a:gd name="csX200" fmla="*/ 380336 w 760333"/>
              <a:gd name="csY200" fmla="*/ 285125 h 760333"/>
              <a:gd name="csX201" fmla="*/ 303285 w 760333"/>
              <a:gd name="csY201" fmla="*/ 256018 h 760333"/>
              <a:gd name="csX202" fmla="*/ 265438 w 760333"/>
              <a:gd name="csY202" fmla="*/ 187368 h 760333"/>
              <a:gd name="csX203" fmla="*/ 284446 w 760333"/>
              <a:gd name="csY203" fmla="*/ 104291 h 760333"/>
              <a:gd name="csX204" fmla="*/ 375669 w 760333"/>
              <a:gd name="csY204" fmla="*/ 41326 h 760333"/>
              <a:gd name="csX205" fmla="*/ 392810 w 760333"/>
              <a:gd name="csY205" fmla="*/ 49897 h 760333"/>
              <a:gd name="csX206" fmla="*/ 384240 w 760333"/>
              <a:gd name="csY206" fmla="*/ 67038 h 760333"/>
              <a:gd name="csX207" fmla="*/ 292168 w 760333"/>
              <a:gd name="csY207" fmla="*/ 182870 h 760333"/>
              <a:gd name="csX208" fmla="*/ 380167 w 760333"/>
              <a:gd name="csY208" fmla="*/ 257800 h 760333"/>
              <a:gd name="csX209" fmla="*/ 431421 w 760333"/>
              <a:gd name="csY209" fmla="*/ 238538 h 760333"/>
              <a:gd name="csX210" fmla="*/ 448053 w 760333"/>
              <a:gd name="csY210" fmla="*/ 203661 h 760333"/>
              <a:gd name="csX211" fmla="*/ 422426 w 760333"/>
              <a:gd name="csY211" fmla="*/ 157837 h 760333"/>
              <a:gd name="csX212" fmla="*/ 405454 w 760333"/>
              <a:gd name="csY212" fmla="*/ 158601 h 760333"/>
              <a:gd name="csX213" fmla="*/ 409867 w 760333"/>
              <a:gd name="csY213" fmla="*/ 163183 h 760333"/>
              <a:gd name="csX214" fmla="*/ 419371 w 760333"/>
              <a:gd name="csY214" fmla="*/ 190932 h 760333"/>
              <a:gd name="csX215" fmla="*/ 379912 w 760333"/>
              <a:gd name="csY215" fmla="*/ 230646 h 760333"/>
              <a:gd name="csX216" fmla="*/ 366335 w 760333"/>
              <a:gd name="csY216" fmla="*/ 217068 h 760333"/>
              <a:gd name="csX217" fmla="*/ 379912 w 760333"/>
              <a:gd name="csY217" fmla="*/ 203491 h 760333"/>
              <a:gd name="csX218" fmla="*/ 392216 w 760333"/>
              <a:gd name="csY218" fmla="*/ 190592 h 760333"/>
              <a:gd name="csX219" fmla="*/ 379572 w 760333"/>
              <a:gd name="csY219" fmla="*/ 176336 h 760333"/>
              <a:gd name="csX220" fmla="*/ 379318 w 760333"/>
              <a:gd name="csY220" fmla="*/ 176336 h 760333"/>
              <a:gd name="csX221" fmla="*/ 378554 w 760333"/>
              <a:gd name="csY221" fmla="*/ 176251 h 760333"/>
              <a:gd name="csX222" fmla="*/ 377960 w 760333"/>
              <a:gd name="csY222" fmla="*/ 176166 h 760333"/>
              <a:gd name="csX223" fmla="*/ 377196 w 760333"/>
              <a:gd name="csY223" fmla="*/ 175997 h 760333"/>
              <a:gd name="csX224" fmla="*/ 376602 w 760333"/>
              <a:gd name="csY224" fmla="*/ 175827 h 760333"/>
              <a:gd name="csX225" fmla="*/ 375924 w 760333"/>
              <a:gd name="csY225" fmla="*/ 175657 h 760333"/>
              <a:gd name="csX226" fmla="*/ 375330 w 760333"/>
              <a:gd name="csY226" fmla="*/ 175488 h 760333"/>
              <a:gd name="csX227" fmla="*/ 374736 w 760333"/>
              <a:gd name="csY227" fmla="*/ 175233 h 760333"/>
              <a:gd name="csX228" fmla="*/ 374057 w 760333"/>
              <a:gd name="csY228" fmla="*/ 174978 h 760333"/>
              <a:gd name="csX229" fmla="*/ 373548 w 760333"/>
              <a:gd name="csY229" fmla="*/ 174724 h 760333"/>
              <a:gd name="csX230" fmla="*/ 372869 w 760333"/>
              <a:gd name="csY230" fmla="*/ 174384 h 760333"/>
              <a:gd name="csX231" fmla="*/ 372360 w 760333"/>
              <a:gd name="csY231" fmla="*/ 174045 h 760333"/>
              <a:gd name="csX232" fmla="*/ 371681 w 760333"/>
              <a:gd name="csY232" fmla="*/ 173621 h 760333"/>
              <a:gd name="csX233" fmla="*/ 371511 w 760333"/>
              <a:gd name="csY233" fmla="*/ 173451 h 760333"/>
              <a:gd name="csX234" fmla="*/ 371256 w 760333"/>
              <a:gd name="csY234" fmla="*/ 173196 h 760333"/>
              <a:gd name="csX235" fmla="*/ 370662 w 760333"/>
              <a:gd name="csY235" fmla="*/ 172687 h 760333"/>
              <a:gd name="csX236" fmla="*/ 370153 w 760333"/>
              <a:gd name="csY236" fmla="*/ 172263 h 760333"/>
              <a:gd name="csX237" fmla="*/ 369729 w 760333"/>
              <a:gd name="csY237" fmla="*/ 171839 h 760333"/>
              <a:gd name="csX238" fmla="*/ 369220 w 760333"/>
              <a:gd name="csY238" fmla="*/ 171330 h 760333"/>
              <a:gd name="csX239" fmla="*/ 368880 w 760333"/>
              <a:gd name="csY239" fmla="*/ 170905 h 760333"/>
              <a:gd name="csX240" fmla="*/ 368456 w 760333"/>
              <a:gd name="csY240" fmla="*/ 170311 h 760333"/>
              <a:gd name="csX241" fmla="*/ 368117 w 760333"/>
              <a:gd name="csY241" fmla="*/ 169802 h 760333"/>
              <a:gd name="csX242" fmla="*/ 367777 w 760333"/>
              <a:gd name="csY242" fmla="*/ 169208 h 760333"/>
              <a:gd name="csX243" fmla="*/ 367523 w 760333"/>
              <a:gd name="csY243" fmla="*/ 168614 h 760333"/>
              <a:gd name="csX244" fmla="*/ 367268 w 760333"/>
              <a:gd name="csY244" fmla="*/ 168020 h 760333"/>
              <a:gd name="csX245" fmla="*/ 367013 w 760333"/>
              <a:gd name="csY245" fmla="*/ 167341 h 760333"/>
              <a:gd name="csX246" fmla="*/ 366844 w 760333"/>
              <a:gd name="csY246" fmla="*/ 166747 h 760333"/>
              <a:gd name="csX247" fmla="*/ 366674 w 760333"/>
              <a:gd name="csY247" fmla="*/ 166068 h 760333"/>
              <a:gd name="csX248" fmla="*/ 366504 w 760333"/>
              <a:gd name="csY248" fmla="*/ 165474 h 760333"/>
              <a:gd name="csX249" fmla="*/ 366419 w 760333"/>
              <a:gd name="csY249" fmla="*/ 164795 h 760333"/>
              <a:gd name="csX250" fmla="*/ 366335 w 760333"/>
              <a:gd name="csY250" fmla="*/ 164117 h 760333"/>
              <a:gd name="csX251" fmla="*/ 366250 w 760333"/>
              <a:gd name="csY251" fmla="*/ 163438 h 760333"/>
              <a:gd name="csX252" fmla="*/ 366250 w 760333"/>
              <a:gd name="csY252" fmla="*/ 162674 h 760333"/>
              <a:gd name="csX253" fmla="*/ 366250 w 760333"/>
              <a:gd name="csY253" fmla="*/ 162335 h 760333"/>
              <a:gd name="csX254" fmla="*/ 366250 w 760333"/>
              <a:gd name="csY254" fmla="*/ 162080 h 760333"/>
              <a:gd name="csX255" fmla="*/ 366335 w 760333"/>
              <a:gd name="csY255" fmla="*/ 161316 h 760333"/>
              <a:gd name="csX256" fmla="*/ 366419 w 760333"/>
              <a:gd name="csY256" fmla="*/ 160722 h 760333"/>
              <a:gd name="csX257" fmla="*/ 366504 w 760333"/>
              <a:gd name="csY257" fmla="*/ 160043 h 760333"/>
              <a:gd name="csX258" fmla="*/ 366674 w 760333"/>
              <a:gd name="csY258" fmla="*/ 159449 h 760333"/>
              <a:gd name="csX259" fmla="*/ 366844 w 760333"/>
              <a:gd name="csY259" fmla="*/ 158855 h 760333"/>
              <a:gd name="csX260" fmla="*/ 367098 w 760333"/>
              <a:gd name="csY260" fmla="*/ 158176 h 760333"/>
              <a:gd name="csX261" fmla="*/ 367268 w 760333"/>
              <a:gd name="csY261" fmla="*/ 157667 h 760333"/>
              <a:gd name="csX262" fmla="*/ 367607 w 760333"/>
              <a:gd name="csY262" fmla="*/ 156904 h 760333"/>
              <a:gd name="csX263" fmla="*/ 367777 w 760333"/>
              <a:gd name="csY263" fmla="*/ 156479 h 760333"/>
              <a:gd name="csX264" fmla="*/ 368201 w 760333"/>
              <a:gd name="csY264" fmla="*/ 155631 h 760333"/>
              <a:gd name="csX265" fmla="*/ 368371 w 760333"/>
              <a:gd name="csY265" fmla="*/ 155376 h 760333"/>
              <a:gd name="csX266" fmla="*/ 368965 w 760333"/>
              <a:gd name="csY266" fmla="*/ 154528 h 760333"/>
              <a:gd name="csX267" fmla="*/ 369050 w 760333"/>
              <a:gd name="csY267" fmla="*/ 154443 h 760333"/>
              <a:gd name="csX268" fmla="*/ 431251 w 760333"/>
              <a:gd name="csY268" fmla="*/ 132210 h 760333"/>
              <a:gd name="csX269" fmla="*/ 463158 w 760333"/>
              <a:gd name="csY269" fmla="*/ 158940 h 760333"/>
              <a:gd name="csX270" fmla="*/ 475463 w 760333"/>
              <a:gd name="csY270" fmla="*/ 204085 h 760333"/>
              <a:gd name="csX271" fmla="*/ 285125 w 760333"/>
              <a:gd name="csY271" fmla="*/ 434476 h 760333"/>
              <a:gd name="csX272" fmla="*/ 271548 w 760333"/>
              <a:gd name="csY272" fmla="*/ 448053 h 760333"/>
              <a:gd name="csX273" fmla="*/ 257970 w 760333"/>
              <a:gd name="csY273" fmla="*/ 434476 h 760333"/>
              <a:gd name="csX274" fmla="*/ 217238 w 760333"/>
              <a:gd name="csY274" fmla="*/ 393744 h 760333"/>
              <a:gd name="csX275" fmla="*/ 176506 w 760333"/>
              <a:gd name="csY275" fmla="*/ 434476 h 760333"/>
              <a:gd name="csX276" fmla="*/ 162929 w 760333"/>
              <a:gd name="csY276" fmla="*/ 448053 h 760333"/>
              <a:gd name="csX277" fmla="*/ 149351 w 760333"/>
              <a:gd name="csY277" fmla="*/ 434476 h 760333"/>
              <a:gd name="csX278" fmla="*/ 217238 w 760333"/>
              <a:gd name="csY278" fmla="*/ 366589 h 760333"/>
              <a:gd name="csX279" fmla="*/ 285125 w 760333"/>
              <a:gd name="csY279" fmla="*/ 434476 h 7603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</a:cxnLst>
            <a:rect l="l" t="t" r="r" b="b"/>
            <a:pathLst>
              <a:path w="760333" h="760333">
                <a:moveTo>
                  <a:pt x="760078" y="428875"/>
                </a:moveTo>
                <a:cubicBezTo>
                  <a:pt x="759994" y="428196"/>
                  <a:pt x="759909" y="427433"/>
                  <a:pt x="759824" y="426754"/>
                </a:cubicBezTo>
                <a:cubicBezTo>
                  <a:pt x="759654" y="425651"/>
                  <a:pt x="759484" y="424548"/>
                  <a:pt x="759230" y="423444"/>
                </a:cubicBezTo>
                <a:cubicBezTo>
                  <a:pt x="759060" y="422681"/>
                  <a:pt x="758890" y="422002"/>
                  <a:pt x="758721" y="421238"/>
                </a:cubicBezTo>
                <a:cubicBezTo>
                  <a:pt x="758551" y="420390"/>
                  <a:pt x="758296" y="419541"/>
                  <a:pt x="758042" y="418692"/>
                </a:cubicBezTo>
                <a:cubicBezTo>
                  <a:pt x="757787" y="417929"/>
                  <a:pt x="757618" y="417250"/>
                  <a:pt x="757363" y="416486"/>
                </a:cubicBezTo>
                <a:cubicBezTo>
                  <a:pt x="757024" y="415553"/>
                  <a:pt x="756684" y="414704"/>
                  <a:pt x="756345" y="413855"/>
                </a:cubicBezTo>
                <a:cubicBezTo>
                  <a:pt x="755920" y="412837"/>
                  <a:pt x="755496" y="411819"/>
                  <a:pt x="754987" y="410800"/>
                </a:cubicBezTo>
                <a:cubicBezTo>
                  <a:pt x="754478" y="409782"/>
                  <a:pt x="753969" y="408764"/>
                  <a:pt x="753375" y="407746"/>
                </a:cubicBezTo>
                <a:cubicBezTo>
                  <a:pt x="752441" y="406048"/>
                  <a:pt x="751423" y="404436"/>
                  <a:pt x="750320" y="402909"/>
                </a:cubicBezTo>
                <a:cubicBezTo>
                  <a:pt x="750150" y="402654"/>
                  <a:pt x="749980" y="402399"/>
                  <a:pt x="749726" y="402145"/>
                </a:cubicBezTo>
                <a:cubicBezTo>
                  <a:pt x="748453" y="400448"/>
                  <a:pt x="747095" y="398751"/>
                  <a:pt x="745568" y="397223"/>
                </a:cubicBezTo>
                <a:cubicBezTo>
                  <a:pt x="745143" y="396799"/>
                  <a:pt x="744719" y="396290"/>
                  <a:pt x="744210" y="395865"/>
                </a:cubicBezTo>
                <a:cubicBezTo>
                  <a:pt x="742513" y="394253"/>
                  <a:pt x="740816" y="392726"/>
                  <a:pt x="738949" y="391283"/>
                </a:cubicBezTo>
                <a:cubicBezTo>
                  <a:pt x="738015" y="390604"/>
                  <a:pt x="737082" y="389925"/>
                  <a:pt x="736063" y="389246"/>
                </a:cubicBezTo>
                <a:cubicBezTo>
                  <a:pt x="735045" y="388568"/>
                  <a:pt x="734112" y="387974"/>
                  <a:pt x="733093" y="387379"/>
                </a:cubicBezTo>
                <a:cubicBezTo>
                  <a:pt x="733093" y="385003"/>
                  <a:pt x="733178" y="382543"/>
                  <a:pt x="733178" y="380167"/>
                </a:cubicBezTo>
                <a:cubicBezTo>
                  <a:pt x="733178" y="170226"/>
                  <a:pt x="575172" y="0"/>
                  <a:pt x="380167" y="0"/>
                </a:cubicBezTo>
                <a:cubicBezTo>
                  <a:pt x="364977" y="0"/>
                  <a:pt x="349957" y="1018"/>
                  <a:pt x="335191" y="3055"/>
                </a:cubicBezTo>
                <a:cubicBezTo>
                  <a:pt x="332221" y="3479"/>
                  <a:pt x="329336" y="3903"/>
                  <a:pt x="326366" y="4413"/>
                </a:cubicBezTo>
                <a:cubicBezTo>
                  <a:pt x="324924" y="4667"/>
                  <a:pt x="323481" y="4922"/>
                  <a:pt x="321954" y="5176"/>
                </a:cubicBezTo>
                <a:cubicBezTo>
                  <a:pt x="317626" y="5940"/>
                  <a:pt x="313213" y="6789"/>
                  <a:pt x="308970" y="7807"/>
                </a:cubicBezTo>
                <a:cubicBezTo>
                  <a:pt x="303200" y="9080"/>
                  <a:pt x="297514" y="10522"/>
                  <a:pt x="291914" y="12050"/>
                </a:cubicBezTo>
                <a:cubicBezTo>
                  <a:pt x="289113" y="12814"/>
                  <a:pt x="286313" y="13662"/>
                  <a:pt x="283513" y="14511"/>
                </a:cubicBezTo>
                <a:cubicBezTo>
                  <a:pt x="282155" y="14935"/>
                  <a:pt x="280712" y="15359"/>
                  <a:pt x="279355" y="15784"/>
                </a:cubicBezTo>
                <a:cubicBezTo>
                  <a:pt x="275196" y="17141"/>
                  <a:pt x="271038" y="18499"/>
                  <a:pt x="266965" y="20027"/>
                </a:cubicBezTo>
                <a:lnTo>
                  <a:pt x="258819" y="23082"/>
                </a:lnTo>
                <a:cubicBezTo>
                  <a:pt x="254746" y="24694"/>
                  <a:pt x="250757" y="26391"/>
                  <a:pt x="246769" y="28088"/>
                </a:cubicBezTo>
                <a:cubicBezTo>
                  <a:pt x="244138" y="29276"/>
                  <a:pt x="241508" y="30464"/>
                  <a:pt x="238877" y="31737"/>
                </a:cubicBezTo>
                <a:cubicBezTo>
                  <a:pt x="232343" y="34792"/>
                  <a:pt x="225894" y="38102"/>
                  <a:pt x="219529" y="41581"/>
                </a:cubicBezTo>
                <a:cubicBezTo>
                  <a:pt x="216983" y="42938"/>
                  <a:pt x="214438" y="44381"/>
                  <a:pt x="211977" y="45908"/>
                </a:cubicBezTo>
                <a:cubicBezTo>
                  <a:pt x="206970" y="48794"/>
                  <a:pt x="202048" y="51849"/>
                  <a:pt x="197211" y="55073"/>
                </a:cubicBezTo>
                <a:cubicBezTo>
                  <a:pt x="192374" y="58213"/>
                  <a:pt x="187622" y="61522"/>
                  <a:pt x="182870" y="65002"/>
                </a:cubicBezTo>
                <a:cubicBezTo>
                  <a:pt x="181682" y="65850"/>
                  <a:pt x="180494" y="66699"/>
                  <a:pt x="179391" y="67547"/>
                </a:cubicBezTo>
                <a:cubicBezTo>
                  <a:pt x="175912" y="70178"/>
                  <a:pt x="172433" y="72809"/>
                  <a:pt x="169038" y="75524"/>
                </a:cubicBezTo>
                <a:cubicBezTo>
                  <a:pt x="165644" y="78240"/>
                  <a:pt x="162250" y="81040"/>
                  <a:pt x="159025" y="83925"/>
                </a:cubicBezTo>
                <a:cubicBezTo>
                  <a:pt x="155716" y="86810"/>
                  <a:pt x="152491" y="89696"/>
                  <a:pt x="149266" y="92666"/>
                </a:cubicBezTo>
                <a:cubicBezTo>
                  <a:pt x="147145" y="94617"/>
                  <a:pt x="145023" y="96654"/>
                  <a:pt x="142902" y="98691"/>
                </a:cubicBezTo>
                <a:cubicBezTo>
                  <a:pt x="139762" y="101745"/>
                  <a:pt x="136707" y="104885"/>
                  <a:pt x="133652" y="108110"/>
                </a:cubicBezTo>
                <a:cubicBezTo>
                  <a:pt x="130597" y="111334"/>
                  <a:pt x="127627" y="114559"/>
                  <a:pt x="124742" y="117869"/>
                </a:cubicBezTo>
                <a:cubicBezTo>
                  <a:pt x="122790" y="120075"/>
                  <a:pt x="120839" y="122281"/>
                  <a:pt x="118972" y="124572"/>
                </a:cubicBezTo>
                <a:cubicBezTo>
                  <a:pt x="115153" y="129070"/>
                  <a:pt x="111504" y="133652"/>
                  <a:pt x="107855" y="138404"/>
                </a:cubicBezTo>
                <a:lnTo>
                  <a:pt x="102509" y="145532"/>
                </a:lnTo>
                <a:cubicBezTo>
                  <a:pt x="95551" y="155122"/>
                  <a:pt x="88932" y="165050"/>
                  <a:pt x="82822" y="175318"/>
                </a:cubicBezTo>
                <a:cubicBezTo>
                  <a:pt x="81295" y="177864"/>
                  <a:pt x="79767" y="180494"/>
                  <a:pt x="78324" y="183125"/>
                </a:cubicBezTo>
                <a:cubicBezTo>
                  <a:pt x="73148" y="192290"/>
                  <a:pt x="68396" y="201709"/>
                  <a:pt x="63899" y="211298"/>
                </a:cubicBezTo>
                <a:cubicBezTo>
                  <a:pt x="62626" y="214013"/>
                  <a:pt x="61353" y="216814"/>
                  <a:pt x="60165" y="219614"/>
                </a:cubicBezTo>
                <a:cubicBezTo>
                  <a:pt x="57110" y="226572"/>
                  <a:pt x="54310" y="233701"/>
                  <a:pt x="51679" y="240829"/>
                </a:cubicBezTo>
                <a:lnTo>
                  <a:pt x="48624" y="249484"/>
                </a:lnTo>
                <a:cubicBezTo>
                  <a:pt x="46163" y="256782"/>
                  <a:pt x="43872" y="264165"/>
                  <a:pt x="41835" y="271632"/>
                </a:cubicBezTo>
                <a:cubicBezTo>
                  <a:pt x="40987" y="274602"/>
                  <a:pt x="40223" y="277657"/>
                  <a:pt x="39459" y="280627"/>
                </a:cubicBezTo>
                <a:cubicBezTo>
                  <a:pt x="31398" y="312365"/>
                  <a:pt x="27155" y="345714"/>
                  <a:pt x="27155" y="380167"/>
                </a:cubicBezTo>
                <a:cubicBezTo>
                  <a:pt x="27155" y="382627"/>
                  <a:pt x="27155" y="385003"/>
                  <a:pt x="27240" y="387379"/>
                </a:cubicBezTo>
                <a:cubicBezTo>
                  <a:pt x="26221" y="387974"/>
                  <a:pt x="25203" y="388568"/>
                  <a:pt x="24270" y="389246"/>
                </a:cubicBezTo>
                <a:cubicBezTo>
                  <a:pt x="23336" y="389925"/>
                  <a:pt x="22318" y="390604"/>
                  <a:pt x="21384" y="391283"/>
                </a:cubicBezTo>
                <a:cubicBezTo>
                  <a:pt x="19517" y="392726"/>
                  <a:pt x="17735" y="394253"/>
                  <a:pt x="16123" y="395865"/>
                </a:cubicBezTo>
                <a:cubicBezTo>
                  <a:pt x="15699" y="396290"/>
                  <a:pt x="15275" y="396799"/>
                  <a:pt x="14765" y="397223"/>
                </a:cubicBezTo>
                <a:cubicBezTo>
                  <a:pt x="13323" y="398751"/>
                  <a:pt x="11880" y="400448"/>
                  <a:pt x="10607" y="402145"/>
                </a:cubicBezTo>
                <a:cubicBezTo>
                  <a:pt x="10438" y="402399"/>
                  <a:pt x="10268" y="402654"/>
                  <a:pt x="10013" y="402909"/>
                </a:cubicBezTo>
                <a:cubicBezTo>
                  <a:pt x="8910" y="404436"/>
                  <a:pt x="7892" y="406048"/>
                  <a:pt x="6958" y="407746"/>
                </a:cubicBezTo>
                <a:cubicBezTo>
                  <a:pt x="6364" y="408764"/>
                  <a:pt x="5855" y="409782"/>
                  <a:pt x="5346" y="410800"/>
                </a:cubicBezTo>
                <a:cubicBezTo>
                  <a:pt x="4837" y="411819"/>
                  <a:pt x="4413" y="412837"/>
                  <a:pt x="3988" y="413855"/>
                </a:cubicBezTo>
                <a:cubicBezTo>
                  <a:pt x="3649" y="414704"/>
                  <a:pt x="3309" y="415637"/>
                  <a:pt x="2970" y="416486"/>
                </a:cubicBezTo>
                <a:cubicBezTo>
                  <a:pt x="2715" y="417250"/>
                  <a:pt x="2461" y="417929"/>
                  <a:pt x="2291" y="418692"/>
                </a:cubicBezTo>
                <a:cubicBezTo>
                  <a:pt x="2037" y="419541"/>
                  <a:pt x="1782" y="420390"/>
                  <a:pt x="1612" y="421238"/>
                </a:cubicBezTo>
                <a:cubicBezTo>
                  <a:pt x="1443" y="422002"/>
                  <a:pt x="1273" y="422681"/>
                  <a:pt x="1103" y="423444"/>
                </a:cubicBezTo>
                <a:cubicBezTo>
                  <a:pt x="849" y="424548"/>
                  <a:pt x="679" y="425651"/>
                  <a:pt x="509" y="426754"/>
                </a:cubicBezTo>
                <a:cubicBezTo>
                  <a:pt x="424" y="427433"/>
                  <a:pt x="339" y="428112"/>
                  <a:pt x="255" y="428875"/>
                </a:cubicBezTo>
                <a:cubicBezTo>
                  <a:pt x="85" y="430742"/>
                  <a:pt x="0" y="432609"/>
                  <a:pt x="0" y="434476"/>
                </a:cubicBezTo>
                <a:cubicBezTo>
                  <a:pt x="0" y="437701"/>
                  <a:pt x="255" y="440756"/>
                  <a:pt x="764" y="443810"/>
                </a:cubicBezTo>
                <a:cubicBezTo>
                  <a:pt x="1018" y="445338"/>
                  <a:pt x="1358" y="446865"/>
                  <a:pt x="1782" y="448308"/>
                </a:cubicBezTo>
                <a:cubicBezTo>
                  <a:pt x="2206" y="449751"/>
                  <a:pt x="2631" y="451193"/>
                  <a:pt x="3140" y="452636"/>
                </a:cubicBezTo>
                <a:cubicBezTo>
                  <a:pt x="4922" y="457642"/>
                  <a:pt x="7383" y="462225"/>
                  <a:pt x="10438" y="466468"/>
                </a:cubicBezTo>
                <a:cubicBezTo>
                  <a:pt x="17905" y="476651"/>
                  <a:pt x="28767" y="484118"/>
                  <a:pt x="41326" y="487173"/>
                </a:cubicBezTo>
                <a:cubicBezTo>
                  <a:pt x="42854" y="492944"/>
                  <a:pt x="44551" y="498544"/>
                  <a:pt x="46418" y="504230"/>
                </a:cubicBezTo>
                <a:cubicBezTo>
                  <a:pt x="47691" y="508303"/>
                  <a:pt x="49048" y="512291"/>
                  <a:pt x="50491" y="516280"/>
                </a:cubicBezTo>
                <a:cubicBezTo>
                  <a:pt x="53037" y="523408"/>
                  <a:pt x="55752" y="530451"/>
                  <a:pt x="58722" y="537409"/>
                </a:cubicBezTo>
                <a:cubicBezTo>
                  <a:pt x="60165" y="540804"/>
                  <a:pt x="61607" y="544113"/>
                  <a:pt x="63135" y="547423"/>
                </a:cubicBezTo>
                <a:cubicBezTo>
                  <a:pt x="65256" y="552090"/>
                  <a:pt x="67463" y="556672"/>
                  <a:pt x="69754" y="561170"/>
                </a:cubicBezTo>
                <a:cubicBezTo>
                  <a:pt x="70687" y="563037"/>
                  <a:pt x="71621" y="564904"/>
                  <a:pt x="72639" y="566771"/>
                </a:cubicBezTo>
                <a:cubicBezTo>
                  <a:pt x="74506" y="570420"/>
                  <a:pt x="76458" y="573984"/>
                  <a:pt x="78494" y="577548"/>
                </a:cubicBezTo>
                <a:cubicBezTo>
                  <a:pt x="80955" y="581875"/>
                  <a:pt x="83416" y="586118"/>
                  <a:pt x="86047" y="590276"/>
                </a:cubicBezTo>
                <a:cubicBezTo>
                  <a:pt x="87319" y="592398"/>
                  <a:pt x="88677" y="594434"/>
                  <a:pt x="89950" y="596471"/>
                </a:cubicBezTo>
                <a:cubicBezTo>
                  <a:pt x="92581" y="600629"/>
                  <a:pt x="95296" y="604702"/>
                  <a:pt x="98097" y="608691"/>
                </a:cubicBezTo>
                <a:cubicBezTo>
                  <a:pt x="105819" y="619807"/>
                  <a:pt x="114135" y="630330"/>
                  <a:pt x="122960" y="640428"/>
                </a:cubicBezTo>
                <a:cubicBezTo>
                  <a:pt x="125251" y="643058"/>
                  <a:pt x="127627" y="645774"/>
                  <a:pt x="130088" y="648320"/>
                </a:cubicBezTo>
                <a:cubicBezTo>
                  <a:pt x="157922" y="678444"/>
                  <a:pt x="190508" y="703648"/>
                  <a:pt x="226403" y="722401"/>
                </a:cubicBezTo>
                <a:cubicBezTo>
                  <a:pt x="230646" y="724608"/>
                  <a:pt x="234889" y="726729"/>
                  <a:pt x="239216" y="728766"/>
                </a:cubicBezTo>
                <a:cubicBezTo>
                  <a:pt x="262977" y="739967"/>
                  <a:pt x="288095" y="748368"/>
                  <a:pt x="314231" y="753714"/>
                </a:cubicBezTo>
                <a:cubicBezTo>
                  <a:pt x="316607" y="754223"/>
                  <a:pt x="318983" y="754647"/>
                  <a:pt x="321360" y="755072"/>
                </a:cubicBezTo>
                <a:cubicBezTo>
                  <a:pt x="328573" y="756345"/>
                  <a:pt x="335785" y="757448"/>
                  <a:pt x="343083" y="758296"/>
                </a:cubicBezTo>
                <a:cubicBezTo>
                  <a:pt x="355303" y="759654"/>
                  <a:pt x="367692" y="760333"/>
                  <a:pt x="380167" y="760333"/>
                </a:cubicBezTo>
                <a:cubicBezTo>
                  <a:pt x="392641" y="760333"/>
                  <a:pt x="405115" y="759654"/>
                  <a:pt x="417250" y="758296"/>
                </a:cubicBezTo>
                <a:cubicBezTo>
                  <a:pt x="424548" y="757448"/>
                  <a:pt x="431845" y="756430"/>
                  <a:pt x="438974" y="755072"/>
                </a:cubicBezTo>
                <a:cubicBezTo>
                  <a:pt x="441350" y="754647"/>
                  <a:pt x="443726" y="754138"/>
                  <a:pt x="446102" y="753714"/>
                </a:cubicBezTo>
                <a:cubicBezTo>
                  <a:pt x="472238" y="748368"/>
                  <a:pt x="497356" y="739967"/>
                  <a:pt x="521117" y="728766"/>
                </a:cubicBezTo>
                <a:cubicBezTo>
                  <a:pt x="525444" y="726729"/>
                  <a:pt x="529687" y="724608"/>
                  <a:pt x="533930" y="722401"/>
                </a:cubicBezTo>
                <a:cubicBezTo>
                  <a:pt x="569825" y="703648"/>
                  <a:pt x="602411" y="678529"/>
                  <a:pt x="630245" y="648320"/>
                </a:cubicBezTo>
                <a:lnTo>
                  <a:pt x="637373" y="640428"/>
                </a:lnTo>
                <a:cubicBezTo>
                  <a:pt x="646198" y="630330"/>
                  <a:pt x="654514" y="619722"/>
                  <a:pt x="662237" y="608691"/>
                </a:cubicBezTo>
                <a:cubicBezTo>
                  <a:pt x="665037" y="604702"/>
                  <a:pt x="667752" y="600629"/>
                  <a:pt x="670383" y="596471"/>
                </a:cubicBezTo>
                <a:cubicBezTo>
                  <a:pt x="671741" y="594434"/>
                  <a:pt x="673014" y="592313"/>
                  <a:pt x="674286" y="590276"/>
                </a:cubicBezTo>
                <a:cubicBezTo>
                  <a:pt x="676832" y="586118"/>
                  <a:pt x="679378" y="581875"/>
                  <a:pt x="681839" y="577548"/>
                </a:cubicBezTo>
                <a:cubicBezTo>
                  <a:pt x="683875" y="573984"/>
                  <a:pt x="685827" y="570420"/>
                  <a:pt x="687694" y="566771"/>
                </a:cubicBezTo>
                <a:cubicBezTo>
                  <a:pt x="688712" y="564904"/>
                  <a:pt x="689646" y="563037"/>
                  <a:pt x="690579" y="561170"/>
                </a:cubicBezTo>
                <a:cubicBezTo>
                  <a:pt x="692870" y="556672"/>
                  <a:pt x="695077" y="552090"/>
                  <a:pt x="697198" y="547423"/>
                </a:cubicBezTo>
                <a:cubicBezTo>
                  <a:pt x="698726" y="544113"/>
                  <a:pt x="700168" y="540804"/>
                  <a:pt x="701611" y="537409"/>
                </a:cubicBezTo>
                <a:cubicBezTo>
                  <a:pt x="704496" y="530451"/>
                  <a:pt x="707296" y="523493"/>
                  <a:pt x="709842" y="516280"/>
                </a:cubicBezTo>
                <a:cubicBezTo>
                  <a:pt x="711285" y="512291"/>
                  <a:pt x="712642" y="508303"/>
                  <a:pt x="713915" y="504230"/>
                </a:cubicBezTo>
                <a:cubicBezTo>
                  <a:pt x="715697" y="498629"/>
                  <a:pt x="717395" y="492944"/>
                  <a:pt x="719007" y="487173"/>
                </a:cubicBezTo>
                <a:cubicBezTo>
                  <a:pt x="731651" y="484118"/>
                  <a:pt x="742513" y="476566"/>
                  <a:pt x="749895" y="466468"/>
                </a:cubicBezTo>
                <a:cubicBezTo>
                  <a:pt x="752950" y="462310"/>
                  <a:pt x="755411" y="457642"/>
                  <a:pt x="757193" y="452636"/>
                </a:cubicBezTo>
                <a:cubicBezTo>
                  <a:pt x="757702" y="451193"/>
                  <a:pt x="758127" y="449751"/>
                  <a:pt x="758551" y="448308"/>
                </a:cubicBezTo>
                <a:cubicBezTo>
                  <a:pt x="758975" y="446865"/>
                  <a:pt x="759230" y="445338"/>
                  <a:pt x="759569" y="443810"/>
                </a:cubicBezTo>
                <a:cubicBezTo>
                  <a:pt x="760078" y="440756"/>
                  <a:pt x="760333" y="437616"/>
                  <a:pt x="760333" y="434476"/>
                </a:cubicBezTo>
                <a:cubicBezTo>
                  <a:pt x="760333" y="432609"/>
                  <a:pt x="760248" y="430742"/>
                  <a:pt x="760078" y="428875"/>
                </a:cubicBezTo>
                <a:close/>
                <a:moveTo>
                  <a:pt x="380167" y="733178"/>
                </a:moveTo>
                <a:cubicBezTo>
                  <a:pt x="359546" y="733178"/>
                  <a:pt x="342829" y="716461"/>
                  <a:pt x="342829" y="695841"/>
                </a:cubicBezTo>
                <a:cubicBezTo>
                  <a:pt x="342829" y="675220"/>
                  <a:pt x="359546" y="658503"/>
                  <a:pt x="380167" y="658503"/>
                </a:cubicBezTo>
                <a:cubicBezTo>
                  <a:pt x="400787" y="658503"/>
                  <a:pt x="417504" y="675220"/>
                  <a:pt x="417504" y="695841"/>
                </a:cubicBezTo>
                <a:cubicBezTo>
                  <a:pt x="417504" y="716461"/>
                  <a:pt x="400787" y="733178"/>
                  <a:pt x="380167" y="733178"/>
                </a:cubicBezTo>
                <a:close/>
                <a:moveTo>
                  <a:pt x="429894" y="654854"/>
                </a:moveTo>
                <a:cubicBezTo>
                  <a:pt x="428621" y="653241"/>
                  <a:pt x="427178" y="651714"/>
                  <a:pt x="425736" y="650271"/>
                </a:cubicBezTo>
                <a:cubicBezTo>
                  <a:pt x="423529" y="648065"/>
                  <a:pt x="421238" y="646028"/>
                  <a:pt x="418692" y="644162"/>
                </a:cubicBezTo>
                <a:cubicBezTo>
                  <a:pt x="416995" y="642889"/>
                  <a:pt x="415298" y="641786"/>
                  <a:pt x="413516" y="640682"/>
                </a:cubicBezTo>
                <a:cubicBezTo>
                  <a:pt x="409952" y="638561"/>
                  <a:pt x="406218" y="636694"/>
                  <a:pt x="402230" y="635251"/>
                </a:cubicBezTo>
                <a:cubicBezTo>
                  <a:pt x="400278" y="634488"/>
                  <a:pt x="398241" y="633894"/>
                  <a:pt x="396205" y="633385"/>
                </a:cubicBezTo>
                <a:cubicBezTo>
                  <a:pt x="391028" y="632027"/>
                  <a:pt x="385682" y="631348"/>
                  <a:pt x="380082" y="631348"/>
                </a:cubicBezTo>
                <a:cubicBezTo>
                  <a:pt x="374481" y="631348"/>
                  <a:pt x="369135" y="632027"/>
                  <a:pt x="363959" y="633385"/>
                </a:cubicBezTo>
                <a:cubicBezTo>
                  <a:pt x="361922" y="633894"/>
                  <a:pt x="359885" y="634573"/>
                  <a:pt x="357934" y="635251"/>
                </a:cubicBezTo>
                <a:cubicBezTo>
                  <a:pt x="353945" y="636694"/>
                  <a:pt x="350211" y="638561"/>
                  <a:pt x="346647" y="640682"/>
                </a:cubicBezTo>
                <a:cubicBezTo>
                  <a:pt x="344865" y="641786"/>
                  <a:pt x="343168" y="642889"/>
                  <a:pt x="341471" y="644162"/>
                </a:cubicBezTo>
                <a:cubicBezTo>
                  <a:pt x="339010" y="646028"/>
                  <a:pt x="336634" y="648065"/>
                  <a:pt x="334428" y="650271"/>
                </a:cubicBezTo>
                <a:cubicBezTo>
                  <a:pt x="332985" y="651714"/>
                  <a:pt x="331543" y="653241"/>
                  <a:pt x="330270" y="654854"/>
                </a:cubicBezTo>
                <a:cubicBezTo>
                  <a:pt x="328997" y="656466"/>
                  <a:pt x="327724" y="658078"/>
                  <a:pt x="326536" y="659860"/>
                </a:cubicBezTo>
                <a:cubicBezTo>
                  <a:pt x="325348" y="661642"/>
                  <a:pt x="324330" y="663340"/>
                  <a:pt x="323311" y="665207"/>
                </a:cubicBezTo>
                <a:cubicBezTo>
                  <a:pt x="322293" y="667073"/>
                  <a:pt x="321444" y="668940"/>
                  <a:pt x="320596" y="670807"/>
                </a:cubicBezTo>
                <a:cubicBezTo>
                  <a:pt x="319747" y="672759"/>
                  <a:pt x="319068" y="674711"/>
                  <a:pt x="318389" y="676747"/>
                </a:cubicBezTo>
                <a:cubicBezTo>
                  <a:pt x="317795" y="678699"/>
                  <a:pt x="317286" y="680736"/>
                  <a:pt x="316862" y="682857"/>
                </a:cubicBezTo>
                <a:cubicBezTo>
                  <a:pt x="305576" y="668686"/>
                  <a:pt x="298702" y="650781"/>
                  <a:pt x="298702" y="631348"/>
                </a:cubicBezTo>
                <a:cubicBezTo>
                  <a:pt x="298702" y="586458"/>
                  <a:pt x="335276" y="549884"/>
                  <a:pt x="380167" y="549884"/>
                </a:cubicBezTo>
                <a:cubicBezTo>
                  <a:pt x="425057" y="549884"/>
                  <a:pt x="461631" y="586458"/>
                  <a:pt x="461631" y="631348"/>
                </a:cubicBezTo>
                <a:cubicBezTo>
                  <a:pt x="461631" y="650781"/>
                  <a:pt x="454757" y="668686"/>
                  <a:pt x="443301" y="682772"/>
                </a:cubicBezTo>
                <a:cubicBezTo>
                  <a:pt x="442877" y="680736"/>
                  <a:pt x="442368" y="678699"/>
                  <a:pt x="441774" y="676662"/>
                </a:cubicBezTo>
                <a:cubicBezTo>
                  <a:pt x="441180" y="674626"/>
                  <a:pt x="440416" y="672674"/>
                  <a:pt x="439568" y="670722"/>
                </a:cubicBezTo>
                <a:cubicBezTo>
                  <a:pt x="438719" y="668771"/>
                  <a:pt x="437870" y="666904"/>
                  <a:pt x="436852" y="665122"/>
                </a:cubicBezTo>
                <a:cubicBezTo>
                  <a:pt x="435834" y="663255"/>
                  <a:pt x="434815" y="661558"/>
                  <a:pt x="433627" y="659776"/>
                </a:cubicBezTo>
                <a:cubicBezTo>
                  <a:pt x="432439" y="657994"/>
                  <a:pt x="431251" y="656381"/>
                  <a:pt x="429894" y="654854"/>
                </a:cubicBezTo>
                <a:close/>
                <a:moveTo>
                  <a:pt x="712558" y="460867"/>
                </a:moveTo>
                <a:cubicBezTo>
                  <a:pt x="702969" y="463243"/>
                  <a:pt x="695416" y="470626"/>
                  <a:pt x="692786" y="480130"/>
                </a:cubicBezTo>
                <a:cubicBezTo>
                  <a:pt x="682942" y="516449"/>
                  <a:pt x="667752" y="550647"/>
                  <a:pt x="647641" y="581791"/>
                </a:cubicBezTo>
                <a:cubicBezTo>
                  <a:pt x="627954" y="612425"/>
                  <a:pt x="603939" y="639410"/>
                  <a:pt x="576444" y="661982"/>
                </a:cubicBezTo>
                <a:cubicBezTo>
                  <a:pt x="548696" y="684639"/>
                  <a:pt x="518062" y="702290"/>
                  <a:pt x="485391" y="714425"/>
                </a:cubicBezTo>
                <a:cubicBezTo>
                  <a:pt x="469268" y="720365"/>
                  <a:pt x="452805" y="724862"/>
                  <a:pt x="436088" y="728002"/>
                </a:cubicBezTo>
                <a:cubicBezTo>
                  <a:pt x="437022" y="726305"/>
                  <a:pt x="437955" y="724608"/>
                  <a:pt x="438804" y="722826"/>
                </a:cubicBezTo>
                <a:cubicBezTo>
                  <a:pt x="463752" y="706787"/>
                  <a:pt x="481657" y="680905"/>
                  <a:pt x="487088" y="650611"/>
                </a:cubicBezTo>
                <a:cubicBezTo>
                  <a:pt x="502787" y="646198"/>
                  <a:pt x="518316" y="640767"/>
                  <a:pt x="533421" y="634318"/>
                </a:cubicBezTo>
                <a:cubicBezTo>
                  <a:pt x="540295" y="631433"/>
                  <a:pt x="543519" y="623456"/>
                  <a:pt x="540634" y="616498"/>
                </a:cubicBezTo>
                <a:cubicBezTo>
                  <a:pt x="537749" y="609624"/>
                  <a:pt x="529772" y="606400"/>
                  <a:pt x="522814" y="609285"/>
                </a:cubicBezTo>
                <a:cubicBezTo>
                  <a:pt x="511528" y="614037"/>
                  <a:pt x="499987" y="618280"/>
                  <a:pt x="488361" y="621844"/>
                </a:cubicBezTo>
                <a:cubicBezTo>
                  <a:pt x="483609" y="566346"/>
                  <a:pt x="436937" y="522729"/>
                  <a:pt x="380167" y="522729"/>
                </a:cubicBezTo>
                <a:cubicBezTo>
                  <a:pt x="323396" y="522729"/>
                  <a:pt x="276724" y="566346"/>
                  <a:pt x="271972" y="621929"/>
                </a:cubicBezTo>
                <a:cubicBezTo>
                  <a:pt x="260346" y="618365"/>
                  <a:pt x="248805" y="614122"/>
                  <a:pt x="237519" y="609370"/>
                </a:cubicBezTo>
                <a:cubicBezTo>
                  <a:pt x="230646" y="606484"/>
                  <a:pt x="222669" y="609709"/>
                  <a:pt x="219699" y="616583"/>
                </a:cubicBezTo>
                <a:cubicBezTo>
                  <a:pt x="216814" y="623456"/>
                  <a:pt x="220038" y="631433"/>
                  <a:pt x="226912" y="634403"/>
                </a:cubicBezTo>
                <a:cubicBezTo>
                  <a:pt x="242102" y="640852"/>
                  <a:pt x="257546" y="646283"/>
                  <a:pt x="273245" y="650696"/>
                </a:cubicBezTo>
                <a:cubicBezTo>
                  <a:pt x="278676" y="680990"/>
                  <a:pt x="296581" y="706872"/>
                  <a:pt x="321529" y="722910"/>
                </a:cubicBezTo>
                <a:cubicBezTo>
                  <a:pt x="322378" y="724692"/>
                  <a:pt x="323226" y="726390"/>
                  <a:pt x="324245" y="728087"/>
                </a:cubicBezTo>
                <a:cubicBezTo>
                  <a:pt x="307528" y="724947"/>
                  <a:pt x="291065" y="720449"/>
                  <a:pt x="274942" y="714509"/>
                </a:cubicBezTo>
                <a:cubicBezTo>
                  <a:pt x="242186" y="702459"/>
                  <a:pt x="211552" y="684809"/>
                  <a:pt x="183889" y="662067"/>
                </a:cubicBezTo>
                <a:cubicBezTo>
                  <a:pt x="156394" y="639494"/>
                  <a:pt x="132379" y="612509"/>
                  <a:pt x="112692" y="581875"/>
                </a:cubicBezTo>
                <a:cubicBezTo>
                  <a:pt x="92666" y="550732"/>
                  <a:pt x="77476" y="516449"/>
                  <a:pt x="67547" y="480215"/>
                </a:cubicBezTo>
                <a:cubicBezTo>
                  <a:pt x="64917" y="470711"/>
                  <a:pt x="57364" y="463328"/>
                  <a:pt x="47775" y="460952"/>
                </a:cubicBezTo>
                <a:cubicBezTo>
                  <a:pt x="35641" y="457897"/>
                  <a:pt x="27155" y="447035"/>
                  <a:pt x="27155" y="434476"/>
                </a:cubicBezTo>
                <a:cubicBezTo>
                  <a:pt x="27155" y="424802"/>
                  <a:pt x="32416" y="415807"/>
                  <a:pt x="40817" y="410970"/>
                </a:cubicBezTo>
                <a:cubicBezTo>
                  <a:pt x="49388" y="406048"/>
                  <a:pt x="54564" y="396884"/>
                  <a:pt x="54394" y="386955"/>
                </a:cubicBezTo>
                <a:cubicBezTo>
                  <a:pt x="54310" y="384325"/>
                  <a:pt x="54310" y="382203"/>
                  <a:pt x="54310" y="380167"/>
                </a:cubicBezTo>
                <a:cubicBezTo>
                  <a:pt x="54310" y="332221"/>
                  <a:pt x="63050" y="285804"/>
                  <a:pt x="80191" y="242102"/>
                </a:cubicBezTo>
                <a:cubicBezTo>
                  <a:pt x="96739" y="200012"/>
                  <a:pt x="120329" y="162250"/>
                  <a:pt x="150454" y="129834"/>
                </a:cubicBezTo>
                <a:cubicBezTo>
                  <a:pt x="180409" y="97587"/>
                  <a:pt x="215286" y="72215"/>
                  <a:pt x="253982" y="54564"/>
                </a:cubicBezTo>
                <a:cubicBezTo>
                  <a:pt x="293950" y="36404"/>
                  <a:pt x="336379" y="27155"/>
                  <a:pt x="380167" y="27155"/>
                </a:cubicBezTo>
                <a:cubicBezTo>
                  <a:pt x="423954" y="27155"/>
                  <a:pt x="466383" y="36404"/>
                  <a:pt x="506351" y="54564"/>
                </a:cubicBezTo>
                <a:cubicBezTo>
                  <a:pt x="545132" y="72215"/>
                  <a:pt x="579924" y="97503"/>
                  <a:pt x="609879" y="129834"/>
                </a:cubicBezTo>
                <a:cubicBezTo>
                  <a:pt x="640004" y="162250"/>
                  <a:pt x="663594" y="200012"/>
                  <a:pt x="680142" y="242102"/>
                </a:cubicBezTo>
                <a:cubicBezTo>
                  <a:pt x="697283" y="285804"/>
                  <a:pt x="706024" y="332221"/>
                  <a:pt x="706024" y="380167"/>
                </a:cubicBezTo>
                <a:cubicBezTo>
                  <a:pt x="706024" y="382203"/>
                  <a:pt x="706024" y="384325"/>
                  <a:pt x="705939" y="386955"/>
                </a:cubicBezTo>
                <a:cubicBezTo>
                  <a:pt x="705769" y="396799"/>
                  <a:pt x="710945" y="406048"/>
                  <a:pt x="719516" y="410970"/>
                </a:cubicBezTo>
                <a:cubicBezTo>
                  <a:pt x="727917" y="415807"/>
                  <a:pt x="733178" y="424802"/>
                  <a:pt x="733178" y="434476"/>
                </a:cubicBezTo>
                <a:cubicBezTo>
                  <a:pt x="733178" y="447035"/>
                  <a:pt x="724692" y="457897"/>
                  <a:pt x="712558" y="460867"/>
                </a:cubicBezTo>
                <a:close/>
                <a:moveTo>
                  <a:pt x="610982" y="434476"/>
                </a:moveTo>
                <a:cubicBezTo>
                  <a:pt x="610982" y="441944"/>
                  <a:pt x="604872" y="448053"/>
                  <a:pt x="597405" y="448053"/>
                </a:cubicBezTo>
                <a:cubicBezTo>
                  <a:pt x="589937" y="448053"/>
                  <a:pt x="583827" y="441944"/>
                  <a:pt x="583827" y="434476"/>
                </a:cubicBezTo>
                <a:cubicBezTo>
                  <a:pt x="583827" y="411988"/>
                  <a:pt x="565583" y="393744"/>
                  <a:pt x="543095" y="393744"/>
                </a:cubicBezTo>
                <a:cubicBezTo>
                  <a:pt x="520607" y="393744"/>
                  <a:pt x="502363" y="411988"/>
                  <a:pt x="502363" y="434476"/>
                </a:cubicBezTo>
                <a:cubicBezTo>
                  <a:pt x="502363" y="441944"/>
                  <a:pt x="496253" y="448053"/>
                  <a:pt x="488786" y="448053"/>
                </a:cubicBezTo>
                <a:cubicBezTo>
                  <a:pt x="481318" y="448053"/>
                  <a:pt x="475208" y="441944"/>
                  <a:pt x="475208" y="434476"/>
                </a:cubicBezTo>
                <a:cubicBezTo>
                  <a:pt x="475208" y="397053"/>
                  <a:pt x="505672" y="366589"/>
                  <a:pt x="543095" y="366589"/>
                </a:cubicBezTo>
                <a:cubicBezTo>
                  <a:pt x="580518" y="366589"/>
                  <a:pt x="610982" y="397053"/>
                  <a:pt x="610982" y="434476"/>
                </a:cubicBezTo>
                <a:close/>
                <a:moveTo>
                  <a:pt x="475463" y="204085"/>
                </a:moveTo>
                <a:cubicBezTo>
                  <a:pt x="475293" y="222839"/>
                  <a:pt x="466043" y="243035"/>
                  <a:pt x="450684" y="258055"/>
                </a:cubicBezTo>
                <a:cubicBezTo>
                  <a:pt x="438125" y="270360"/>
                  <a:pt x="415722" y="285125"/>
                  <a:pt x="380336" y="285125"/>
                </a:cubicBezTo>
                <a:cubicBezTo>
                  <a:pt x="351739" y="285125"/>
                  <a:pt x="324414" y="274772"/>
                  <a:pt x="303285" y="256018"/>
                </a:cubicBezTo>
                <a:cubicBezTo>
                  <a:pt x="283173" y="238113"/>
                  <a:pt x="269765" y="213759"/>
                  <a:pt x="265438" y="187368"/>
                </a:cubicBezTo>
                <a:cubicBezTo>
                  <a:pt x="260770" y="158516"/>
                  <a:pt x="267559" y="128985"/>
                  <a:pt x="284446" y="104291"/>
                </a:cubicBezTo>
                <a:cubicBezTo>
                  <a:pt x="303624" y="76288"/>
                  <a:pt x="334343" y="55158"/>
                  <a:pt x="375669" y="41326"/>
                </a:cubicBezTo>
                <a:cubicBezTo>
                  <a:pt x="382797" y="38950"/>
                  <a:pt x="390434" y="42769"/>
                  <a:pt x="392810" y="49897"/>
                </a:cubicBezTo>
                <a:cubicBezTo>
                  <a:pt x="395186" y="57025"/>
                  <a:pt x="391368" y="64662"/>
                  <a:pt x="384240" y="67038"/>
                </a:cubicBezTo>
                <a:cubicBezTo>
                  <a:pt x="306679" y="92920"/>
                  <a:pt x="285804" y="143835"/>
                  <a:pt x="292168" y="182870"/>
                </a:cubicBezTo>
                <a:cubicBezTo>
                  <a:pt x="298193" y="220123"/>
                  <a:pt x="330355" y="257800"/>
                  <a:pt x="380167" y="257800"/>
                </a:cubicBezTo>
                <a:cubicBezTo>
                  <a:pt x="406303" y="257800"/>
                  <a:pt x="422511" y="247278"/>
                  <a:pt x="431421" y="238538"/>
                </a:cubicBezTo>
                <a:cubicBezTo>
                  <a:pt x="441519" y="228609"/>
                  <a:pt x="447884" y="215201"/>
                  <a:pt x="448053" y="203661"/>
                </a:cubicBezTo>
                <a:cubicBezTo>
                  <a:pt x="448308" y="179561"/>
                  <a:pt x="435325" y="162335"/>
                  <a:pt x="422426" y="157837"/>
                </a:cubicBezTo>
                <a:cubicBezTo>
                  <a:pt x="416741" y="155885"/>
                  <a:pt x="411055" y="156140"/>
                  <a:pt x="405454" y="158601"/>
                </a:cubicBezTo>
                <a:cubicBezTo>
                  <a:pt x="407067" y="159958"/>
                  <a:pt x="408509" y="161486"/>
                  <a:pt x="409867" y="163183"/>
                </a:cubicBezTo>
                <a:cubicBezTo>
                  <a:pt x="416062" y="170736"/>
                  <a:pt x="419456" y="180579"/>
                  <a:pt x="419371" y="190932"/>
                </a:cubicBezTo>
                <a:cubicBezTo>
                  <a:pt x="419117" y="210619"/>
                  <a:pt x="405454" y="230646"/>
                  <a:pt x="379912" y="230646"/>
                </a:cubicBezTo>
                <a:cubicBezTo>
                  <a:pt x="372444" y="230646"/>
                  <a:pt x="366335" y="224536"/>
                  <a:pt x="366335" y="217068"/>
                </a:cubicBezTo>
                <a:cubicBezTo>
                  <a:pt x="366335" y="209601"/>
                  <a:pt x="372444" y="203491"/>
                  <a:pt x="379912" y="203491"/>
                </a:cubicBezTo>
                <a:cubicBezTo>
                  <a:pt x="391198" y="203491"/>
                  <a:pt x="392132" y="193647"/>
                  <a:pt x="392216" y="190592"/>
                </a:cubicBezTo>
                <a:cubicBezTo>
                  <a:pt x="392216" y="189150"/>
                  <a:pt x="392047" y="176591"/>
                  <a:pt x="379572" y="176336"/>
                </a:cubicBezTo>
                <a:lnTo>
                  <a:pt x="379318" y="176336"/>
                </a:lnTo>
                <a:cubicBezTo>
                  <a:pt x="379063" y="176336"/>
                  <a:pt x="378809" y="176336"/>
                  <a:pt x="378554" y="176251"/>
                </a:cubicBezTo>
                <a:cubicBezTo>
                  <a:pt x="378384" y="176251"/>
                  <a:pt x="378130" y="176251"/>
                  <a:pt x="377960" y="176166"/>
                </a:cubicBezTo>
                <a:cubicBezTo>
                  <a:pt x="377706" y="176166"/>
                  <a:pt x="377451" y="176082"/>
                  <a:pt x="377196" y="175997"/>
                </a:cubicBezTo>
                <a:cubicBezTo>
                  <a:pt x="377027" y="175997"/>
                  <a:pt x="376772" y="175912"/>
                  <a:pt x="376602" y="175827"/>
                </a:cubicBezTo>
                <a:cubicBezTo>
                  <a:pt x="376348" y="175742"/>
                  <a:pt x="376178" y="175742"/>
                  <a:pt x="375924" y="175657"/>
                </a:cubicBezTo>
                <a:cubicBezTo>
                  <a:pt x="375754" y="175572"/>
                  <a:pt x="375499" y="175572"/>
                  <a:pt x="375330" y="175488"/>
                </a:cubicBezTo>
                <a:cubicBezTo>
                  <a:pt x="375160" y="175403"/>
                  <a:pt x="374905" y="175318"/>
                  <a:pt x="374736" y="175233"/>
                </a:cubicBezTo>
                <a:cubicBezTo>
                  <a:pt x="374481" y="175148"/>
                  <a:pt x="374311" y="175063"/>
                  <a:pt x="374057" y="174978"/>
                </a:cubicBezTo>
                <a:lnTo>
                  <a:pt x="373548" y="174724"/>
                </a:lnTo>
                <a:cubicBezTo>
                  <a:pt x="373293" y="174639"/>
                  <a:pt x="373123" y="174469"/>
                  <a:pt x="372869" y="174384"/>
                </a:cubicBezTo>
                <a:cubicBezTo>
                  <a:pt x="372699" y="174300"/>
                  <a:pt x="372529" y="174215"/>
                  <a:pt x="372360" y="174045"/>
                </a:cubicBezTo>
                <a:cubicBezTo>
                  <a:pt x="372105" y="173875"/>
                  <a:pt x="371935" y="173790"/>
                  <a:pt x="371681" y="173621"/>
                </a:cubicBezTo>
                <a:cubicBezTo>
                  <a:pt x="371596" y="173536"/>
                  <a:pt x="371511" y="173536"/>
                  <a:pt x="371511" y="173451"/>
                </a:cubicBezTo>
                <a:lnTo>
                  <a:pt x="371256" y="173196"/>
                </a:lnTo>
                <a:cubicBezTo>
                  <a:pt x="371087" y="173027"/>
                  <a:pt x="370917" y="172857"/>
                  <a:pt x="370662" y="172687"/>
                </a:cubicBezTo>
                <a:cubicBezTo>
                  <a:pt x="370493" y="172518"/>
                  <a:pt x="370323" y="172433"/>
                  <a:pt x="370153" y="172263"/>
                </a:cubicBezTo>
                <a:lnTo>
                  <a:pt x="369729" y="171839"/>
                </a:lnTo>
                <a:lnTo>
                  <a:pt x="369220" y="171330"/>
                </a:lnTo>
                <a:cubicBezTo>
                  <a:pt x="369135" y="171160"/>
                  <a:pt x="368965" y="170990"/>
                  <a:pt x="368880" y="170905"/>
                </a:cubicBezTo>
                <a:cubicBezTo>
                  <a:pt x="368711" y="170736"/>
                  <a:pt x="368626" y="170481"/>
                  <a:pt x="368456" y="170311"/>
                </a:cubicBezTo>
                <a:cubicBezTo>
                  <a:pt x="368371" y="170141"/>
                  <a:pt x="368286" y="169972"/>
                  <a:pt x="368117" y="169802"/>
                </a:cubicBezTo>
                <a:cubicBezTo>
                  <a:pt x="368032" y="169632"/>
                  <a:pt x="367862" y="169378"/>
                  <a:pt x="367777" y="169208"/>
                </a:cubicBezTo>
                <a:cubicBezTo>
                  <a:pt x="367692" y="169038"/>
                  <a:pt x="367607" y="168869"/>
                  <a:pt x="367523" y="168614"/>
                </a:cubicBezTo>
                <a:cubicBezTo>
                  <a:pt x="367438" y="168444"/>
                  <a:pt x="367353" y="168190"/>
                  <a:pt x="367268" y="168020"/>
                </a:cubicBezTo>
                <a:cubicBezTo>
                  <a:pt x="367183" y="167765"/>
                  <a:pt x="367098" y="167596"/>
                  <a:pt x="367013" y="167341"/>
                </a:cubicBezTo>
                <a:cubicBezTo>
                  <a:pt x="366929" y="167171"/>
                  <a:pt x="366844" y="167002"/>
                  <a:pt x="366844" y="166747"/>
                </a:cubicBezTo>
                <a:cubicBezTo>
                  <a:pt x="366759" y="166493"/>
                  <a:pt x="366674" y="166238"/>
                  <a:pt x="366674" y="166068"/>
                </a:cubicBezTo>
                <a:cubicBezTo>
                  <a:pt x="366589" y="165899"/>
                  <a:pt x="366589" y="165729"/>
                  <a:pt x="366504" y="165474"/>
                </a:cubicBezTo>
                <a:cubicBezTo>
                  <a:pt x="366419" y="165220"/>
                  <a:pt x="366419" y="164965"/>
                  <a:pt x="366419" y="164795"/>
                </a:cubicBezTo>
                <a:cubicBezTo>
                  <a:pt x="366419" y="164626"/>
                  <a:pt x="366335" y="164371"/>
                  <a:pt x="366335" y="164117"/>
                </a:cubicBezTo>
                <a:cubicBezTo>
                  <a:pt x="366335" y="163862"/>
                  <a:pt x="366335" y="163692"/>
                  <a:pt x="366250" y="163438"/>
                </a:cubicBezTo>
                <a:lnTo>
                  <a:pt x="366250" y="162674"/>
                </a:lnTo>
                <a:lnTo>
                  <a:pt x="366250" y="162335"/>
                </a:lnTo>
                <a:lnTo>
                  <a:pt x="366250" y="162080"/>
                </a:lnTo>
                <a:cubicBezTo>
                  <a:pt x="366250" y="161825"/>
                  <a:pt x="366250" y="161571"/>
                  <a:pt x="366335" y="161316"/>
                </a:cubicBezTo>
                <a:cubicBezTo>
                  <a:pt x="366335" y="161146"/>
                  <a:pt x="366335" y="160892"/>
                  <a:pt x="366419" y="160722"/>
                </a:cubicBezTo>
                <a:cubicBezTo>
                  <a:pt x="366419" y="160468"/>
                  <a:pt x="366504" y="160213"/>
                  <a:pt x="366504" y="160043"/>
                </a:cubicBezTo>
                <a:cubicBezTo>
                  <a:pt x="366504" y="159874"/>
                  <a:pt x="366589" y="159619"/>
                  <a:pt x="366674" y="159449"/>
                </a:cubicBezTo>
                <a:cubicBezTo>
                  <a:pt x="366759" y="159280"/>
                  <a:pt x="366759" y="159025"/>
                  <a:pt x="366844" y="158855"/>
                </a:cubicBezTo>
                <a:cubicBezTo>
                  <a:pt x="366929" y="158601"/>
                  <a:pt x="367013" y="158431"/>
                  <a:pt x="367098" y="158176"/>
                </a:cubicBezTo>
                <a:cubicBezTo>
                  <a:pt x="367183" y="158007"/>
                  <a:pt x="367268" y="157837"/>
                  <a:pt x="367268" y="157667"/>
                </a:cubicBezTo>
                <a:cubicBezTo>
                  <a:pt x="367353" y="157413"/>
                  <a:pt x="367438" y="157158"/>
                  <a:pt x="367607" y="156904"/>
                </a:cubicBezTo>
                <a:cubicBezTo>
                  <a:pt x="367692" y="156734"/>
                  <a:pt x="367777" y="156649"/>
                  <a:pt x="367777" y="156479"/>
                </a:cubicBezTo>
                <a:cubicBezTo>
                  <a:pt x="367947" y="156225"/>
                  <a:pt x="368032" y="155885"/>
                  <a:pt x="368201" y="155631"/>
                </a:cubicBezTo>
                <a:cubicBezTo>
                  <a:pt x="368286" y="155546"/>
                  <a:pt x="368286" y="155461"/>
                  <a:pt x="368371" y="155376"/>
                </a:cubicBezTo>
                <a:cubicBezTo>
                  <a:pt x="368541" y="155122"/>
                  <a:pt x="368795" y="154782"/>
                  <a:pt x="368965" y="154528"/>
                </a:cubicBezTo>
                <a:lnTo>
                  <a:pt x="369050" y="154443"/>
                </a:lnTo>
                <a:cubicBezTo>
                  <a:pt x="385852" y="132804"/>
                  <a:pt x="409103" y="124488"/>
                  <a:pt x="431251" y="132210"/>
                </a:cubicBezTo>
                <a:cubicBezTo>
                  <a:pt x="443895" y="136622"/>
                  <a:pt x="455266" y="146127"/>
                  <a:pt x="463158" y="158940"/>
                </a:cubicBezTo>
                <a:cubicBezTo>
                  <a:pt x="471559" y="172093"/>
                  <a:pt x="475632" y="187622"/>
                  <a:pt x="475463" y="204085"/>
                </a:cubicBezTo>
                <a:close/>
                <a:moveTo>
                  <a:pt x="285125" y="434476"/>
                </a:moveTo>
                <a:cubicBezTo>
                  <a:pt x="285125" y="441944"/>
                  <a:pt x="279015" y="448053"/>
                  <a:pt x="271548" y="448053"/>
                </a:cubicBezTo>
                <a:cubicBezTo>
                  <a:pt x="264080" y="448053"/>
                  <a:pt x="257970" y="441944"/>
                  <a:pt x="257970" y="434476"/>
                </a:cubicBezTo>
                <a:cubicBezTo>
                  <a:pt x="257970" y="411988"/>
                  <a:pt x="239726" y="393744"/>
                  <a:pt x="217238" y="393744"/>
                </a:cubicBezTo>
                <a:cubicBezTo>
                  <a:pt x="194750" y="393744"/>
                  <a:pt x="176506" y="411988"/>
                  <a:pt x="176506" y="434476"/>
                </a:cubicBezTo>
                <a:cubicBezTo>
                  <a:pt x="176506" y="441944"/>
                  <a:pt x="170396" y="448053"/>
                  <a:pt x="162929" y="448053"/>
                </a:cubicBezTo>
                <a:cubicBezTo>
                  <a:pt x="155461" y="448053"/>
                  <a:pt x="149351" y="441944"/>
                  <a:pt x="149351" y="434476"/>
                </a:cubicBezTo>
                <a:cubicBezTo>
                  <a:pt x="149351" y="397053"/>
                  <a:pt x="179815" y="366589"/>
                  <a:pt x="217238" y="366589"/>
                </a:cubicBezTo>
                <a:cubicBezTo>
                  <a:pt x="254661" y="366589"/>
                  <a:pt x="285125" y="397053"/>
                  <a:pt x="285125" y="434476"/>
                </a:cubicBezTo>
                <a:close/>
              </a:path>
            </a:pathLst>
          </a:custGeom>
          <a:solidFill>
            <a:srgbClr val="0971CA"/>
          </a:solidFill>
          <a:ln w="846" cap="flat">
            <a:noFill/>
            <a:prstDash val="solid"/>
            <a:miter/>
          </a:ln>
        </p:spPr>
        <p:txBody>
          <a:bodyPr/>
          <a:lstStyle/>
          <a:p>
            <a:endParaRPr lang="zh-CN" altLang="en-US"/>
          </a:p>
        </p:txBody>
      </p:sp>
      <p:pic>
        <p:nvPicPr>
          <p:cNvPr id="103" name="图形 102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654721" y="2591286"/>
            <a:ext cx="736920" cy="726030"/>
          </a:xfrm>
          <a:prstGeom prst="rect">
            <a:avLst/>
          </a:prstGeom>
        </p:spPr>
      </p:pic>
      <p:pic>
        <p:nvPicPr>
          <p:cNvPr id="105" name="图形 104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0667181" y="3888681"/>
            <a:ext cx="712000" cy="712000"/>
          </a:xfrm>
          <a:prstGeom prst="rect">
            <a:avLst/>
          </a:prstGeom>
        </p:spPr>
      </p:pic>
      <p:pic>
        <p:nvPicPr>
          <p:cNvPr id="107" name="图形 106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668984" y="5164859"/>
            <a:ext cx="708395" cy="70839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任意多边形: 形状 96"/>
          <p:cNvSpPr/>
          <p:nvPr>
            <p:custDataLst>
              <p:tags r:id="rId1"/>
            </p:custDataLst>
          </p:nvPr>
        </p:nvSpPr>
        <p:spPr>
          <a:xfrm>
            <a:off x="479589" y="1207184"/>
            <a:ext cx="11337758" cy="1046575"/>
          </a:xfrm>
          <a:custGeom>
            <a:avLst/>
            <a:gdLst>
              <a:gd name="csX0" fmla="*/ 121434 w 11337758"/>
              <a:gd name="csY0" fmla="*/ 0 h 1046575"/>
              <a:gd name="csX1" fmla="*/ 9410894 w 11337758"/>
              <a:gd name="csY1" fmla="*/ 0 h 1046575"/>
              <a:gd name="csX2" fmla="*/ 10476551 w 11337758"/>
              <a:gd name="csY2" fmla="*/ 0 h 1046575"/>
              <a:gd name="csX3" fmla="*/ 10775069 w 11337758"/>
              <a:gd name="csY3" fmla="*/ 0 h 1046575"/>
              <a:gd name="csX4" fmla="*/ 10962101 w 11337758"/>
              <a:gd name="csY4" fmla="*/ 0 h 1046575"/>
              <a:gd name="csX5" fmla="*/ 11165825 w 11337758"/>
              <a:gd name="csY5" fmla="*/ 126051 h 1046575"/>
              <a:gd name="csX6" fmla="*/ 11313626 w 11337758"/>
              <a:gd name="csY6" fmla="*/ 421426 h 1046575"/>
              <a:gd name="csX7" fmla="*/ 11313626 w 11337758"/>
              <a:gd name="csY7" fmla="*/ 625148 h 1046575"/>
              <a:gd name="csX8" fmla="*/ 11165825 w 11337758"/>
              <a:gd name="csY8" fmla="*/ 920526 h 1046575"/>
              <a:gd name="csX9" fmla="*/ 10962101 w 11337758"/>
              <a:gd name="csY9" fmla="*/ 1046574 h 1046575"/>
              <a:gd name="csX10" fmla="*/ 10775069 w 11337758"/>
              <a:gd name="csY10" fmla="*/ 1046574 h 1046575"/>
              <a:gd name="csX11" fmla="*/ 10476556 w 11337758"/>
              <a:gd name="csY11" fmla="*/ 1046574 h 1046575"/>
              <a:gd name="csX12" fmla="*/ 10476551 w 11337758"/>
              <a:gd name="csY12" fmla="*/ 1046575 h 1046575"/>
              <a:gd name="csX13" fmla="*/ 121434 w 11337758"/>
              <a:gd name="csY13" fmla="*/ 1046575 h 1046575"/>
              <a:gd name="csX14" fmla="*/ 0 w 11337758"/>
              <a:gd name="csY14" fmla="*/ 925141 h 1046575"/>
              <a:gd name="csX15" fmla="*/ 0 w 11337758"/>
              <a:gd name="csY15" fmla="*/ 121434 h 1046575"/>
              <a:gd name="csX16" fmla="*/ 121434 w 11337758"/>
              <a:gd name="csY16" fmla="*/ 0 h 10465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1337758" h="1046575">
                <a:moveTo>
                  <a:pt x="121434" y="0"/>
                </a:moveTo>
                <a:lnTo>
                  <a:pt x="9410894" y="0"/>
                </a:lnTo>
                <a:lnTo>
                  <a:pt x="10476551" y="0"/>
                </a:lnTo>
                <a:lnTo>
                  <a:pt x="10775069" y="0"/>
                </a:lnTo>
                <a:lnTo>
                  <a:pt x="10962101" y="0"/>
                </a:lnTo>
                <a:cubicBezTo>
                  <a:pt x="11048432" y="0"/>
                  <a:pt x="11127211" y="48823"/>
                  <a:pt x="11165825" y="126051"/>
                </a:cubicBezTo>
                <a:lnTo>
                  <a:pt x="11313626" y="421426"/>
                </a:lnTo>
                <a:cubicBezTo>
                  <a:pt x="11345803" y="485562"/>
                  <a:pt x="11345803" y="561015"/>
                  <a:pt x="11313626" y="625148"/>
                </a:cubicBezTo>
                <a:lnTo>
                  <a:pt x="11165825" y="920526"/>
                </a:lnTo>
                <a:cubicBezTo>
                  <a:pt x="11127211" y="997752"/>
                  <a:pt x="11048432" y="1046574"/>
                  <a:pt x="10962101" y="1046574"/>
                </a:cubicBezTo>
                <a:lnTo>
                  <a:pt x="10775069" y="1046574"/>
                </a:lnTo>
                <a:lnTo>
                  <a:pt x="10476556" y="1046574"/>
                </a:lnTo>
                <a:lnTo>
                  <a:pt x="10476551" y="1046575"/>
                </a:lnTo>
                <a:lnTo>
                  <a:pt x="121434" y="1046575"/>
                </a:lnTo>
                <a:cubicBezTo>
                  <a:pt x="54368" y="1046575"/>
                  <a:pt x="0" y="992207"/>
                  <a:pt x="0" y="925141"/>
                </a:cubicBezTo>
                <a:lnTo>
                  <a:pt x="0" y="121434"/>
                </a:lnTo>
                <a:cubicBezTo>
                  <a:pt x="0" y="54368"/>
                  <a:pt x="54368" y="0"/>
                  <a:pt x="121434" y="0"/>
                </a:cubicBezTo>
                <a:close/>
              </a:path>
            </a:pathLst>
          </a:custGeom>
          <a:solidFill>
            <a:schemeClr val="bg1"/>
          </a:solidFill>
          <a:ln w="9525">
            <a:gradFill>
              <a:gsLst>
                <a:gs pos="0">
                  <a:srgbClr val="0971CA">
                    <a:alpha val="0"/>
                  </a:srgbClr>
                </a:gs>
                <a:gs pos="37000">
                  <a:srgbClr val="0971CA">
                    <a:alpha val="50000"/>
                  </a:srgbClr>
                </a:gs>
              </a:gsLst>
              <a:lin ang="0" scaled="0"/>
            </a:gradFill>
          </a:ln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>
                <a:sym typeface="+mn-ea"/>
              </a:rPr>
              <a:t> </a:t>
            </a:r>
            <a:endParaRPr lang="en-US" altLang="zh-CN">
              <a:sym typeface="+mn-ea"/>
            </a:endParaRPr>
          </a:p>
        </p:txBody>
      </p:sp>
      <p:sp>
        <p:nvSpPr>
          <p:cNvPr id="98" name="任意多边形: 形状 97"/>
          <p:cNvSpPr/>
          <p:nvPr>
            <p:custDataLst>
              <p:tags r:id="rId2"/>
            </p:custDataLst>
          </p:nvPr>
        </p:nvSpPr>
        <p:spPr>
          <a:xfrm>
            <a:off x="479589" y="3675122"/>
            <a:ext cx="11337758" cy="1046575"/>
          </a:xfrm>
          <a:custGeom>
            <a:avLst/>
            <a:gdLst>
              <a:gd name="csX0" fmla="*/ 121434 w 11337758"/>
              <a:gd name="csY0" fmla="*/ 0 h 1046575"/>
              <a:gd name="csX1" fmla="*/ 9410894 w 11337758"/>
              <a:gd name="csY1" fmla="*/ 0 h 1046575"/>
              <a:gd name="csX2" fmla="*/ 10476551 w 11337758"/>
              <a:gd name="csY2" fmla="*/ 0 h 1046575"/>
              <a:gd name="csX3" fmla="*/ 10775069 w 11337758"/>
              <a:gd name="csY3" fmla="*/ 0 h 1046575"/>
              <a:gd name="csX4" fmla="*/ 10962101 w 11337758"/>
              <a:gd name="csY4" fmla="*/ 0 h 1046575"/>
              <a:gd name="csX5" fmla="*/ 11165825 w 11337758"/>
              <a:gd name="csY5" fmla="*/ 126051 h 1046575"/>
              <a:gd name="csX6" fmla="*/ 11313626 w 11337758"/>
              <a:gd name="csY6" fmla="*/ 421426 h 1046575"/>
              <a:gd name="csX7" fmla="*/ 11313626 w 11337758"/>
              <a:gd name="csY7" fmla="*/ 625148 h 1046575"/>
              <a:gd name="csX8" fmla="*/ 11165825 w 11337758"/>
              <a:gd name="csY8" fmla="*/ 920526 h 1046575"/>
              <a:gd name="csX9" fmla="*/ 10962101 w 11337758"/>
              <a:gd name="csY9" fmla="*/ 1046574 h 1046575"/>
              <a:gd name="csX10" fmla="*/ 10775069 w 11337758"/>
              <a:gd name="csY10" fmla="*/ 1046574 h 1046575"/>
              <a:gd name="csX11" fmla="*/ 10476556 w 11337758"/>
              <a:gd name="csY11" fmla="*/ 1046574 h 1046575"/>
              <a:gd name="csX12" fmla="*/ 10476551 w 11337758"/>
              <a:gd name="csY12" fmla="*/ 1046575 h 1046575"/>
              <a:gd name="csX13" fmla="*/ 121434 w 11337758"/>
              <a:gd name="csY13" fmla="*/ 1046575 h 1046575"/>
              <a:gd name="csX14" fmla="*/ 0 w 11337758"/>
              <a:gd name="csY14" fmla="*/ 925141 h 1046575"/>
              <a:gd name="csX15" fmla="*/ 0 w 11337758"/>
              <a:gd name="csY15" fmla="*/ 121434 h 1046575"/>
              <a:gd name="csX16" fmla="*/ 121434 w 11337758"/>
              <a:gd name="csY16" fmla="*/ 0 h 10465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1337758" h="1046575">
                <a:moveTo>
                  <a:pt x="121434" y="0"/>
                </a:moveTo>
                <a:lnTo>
                  <a:pt x="9410894" y="0"/>
                </a:lnTo>
                <a:lnTo>
                  <a:pt x="10476551" y="0"/>
                </a:lnTo>
                <a:lnTo>
                  <a:pt x="10775069" y="0"/>
                </a:lnTo>
                <a:lnTo>
                  <a:pt x="10962101" y="0"/>
                </a:lnTo>
                <a:cubicBezTo>
                  <a:pt x="11048432" y="0"/>
                  <a:pt x="11127211" y="48823"/>
                  <a:pt x="11165825" y="126051"/>
                </a:cubicBezTo>
                <a:lnTo>
                  <a:pt x="11313626" y="421426"/>
                </a:lnTo>
                <a:cubicBezTo>
                  <a:pt x="11345803" y="485562"/>
                  <a:pt x="11345803" y="561015"/>
                  <a:pt x="11313626" y="625148"/>
                </a:cubicBezTo>
                <a:lnTo>
                  <a:pt x="11165825" y="920526"/>
                </a:lnTo>
                <a:cubicBezTo>
                  <a:pt x="11127211" y="997752"/>
                  <a:pt x="11048432" y="1046574"/>
                  <a:pt x="10962101" y="1046574"/>
                </a:cubicBezTo>
                <a:lnTo>
                  <a:pt x="10775069" y="1046574"/>
                </a:lnTo>
                <a:lnTo>
                  <a:pt x="10476556" y="1046574"/>
                </a:lnTo>
                <a:lnTo>
                  <a:pt x="10476551" y="1046575"/>
                </a:lnTo>
                <a:lnTo>
                  <a:pt x="121434" y="1046575"/>
                </a:lnTo>
                <a:cubicBezTo>
                  <a:pt x="54368" y="1046575"/>
                  <a:pt x="0" y="992207"/>
                  <a:pt x="0" y="925141"/>
                </a:cubicBezTo>
                <a:lnTo>
                  <a:pt x="0" y="121434"/>
                </a:lnTo>
                <a:cubicBezTo>
                  <a:pt x="0" y="54368"/>
                  <a:pt x="54368" y="0"/>
                  <a:pt x="121434" y="0"/>
                </a:cubicBezTo>
                <a:close/>
              </a:path>
            </a:pathLst>
          </a:custGeom>
          <a:solidFill>
            <a:schemeClr val="bg1"/>
          </a:solidFill>
          <a:ln w="9525">
            <a:gradFill>
              <a:gsLst>
                <a:gs pos="0">
                  <a:srgbClr val="0971CA">
                    <a:alpha val="0"/>
                  </a:srgbClr>
                </a:gs>
                <a:gs pos="37000">
                  <a:srgbClr val="0971CA">
                    <a:alpha val="50000"/>
                  </a:srgbClr>
                </a:gs>
              </a:gsLst>
              <a:lin ang="0" scaled="0"/>
            </a:gradFill>
          </a:ln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99" name="任意多边形: 形状 98"/>
          <p:cNvSpPr/>
          <p:nvPr>
            <p:custDataLst>
              <p:tags r:id="rId3"/>
            </p:custDataLst>
          </p:nvPr>
        </p:nvSpPr>
        <p:spPr>
          <a:xfrm>
            <a:off x="479589" y="4909091"/>
            <a:ext cx="11337758" cy="1046575"/>
          </a:xfrm>
          <a:custGeom>
            <a:avLst/>
            <a:gdLst>
              <a:gd name="csX0" fmla="*/ 121434 w 11337758"/>
              <a:gd name="csY0" fmla="*/ 0 h 1046575"/>
              <a:gd name="csX1" fmla="*/ 9410894 w 11337758"/>
              <a:gd name="csY1" fmla="*/ 0 h 1046575"/>
              <a:gd name="csX2" fmla="*/ 10476551 w 11337758"/>
              <a:gd name="csY2" fmla="*/ 0 h 1046575"/>
              <a:gd name="csX3" fmla="*/ 10775069 w 11337758"/>
              <a:gd name="csY3" fmla="*/ 0 h 1046575"/>
              <a:gd name="csX4" fmla="*/ 10962101 w 11337758"/>
              <a:gd name="csY4" fmla="*/ 0 h 1046575"/>
              <a:gd name="csX5" fmla="*/ 11165825 w 11337758"/>
              <a:gd name="csY5" fmla="*/ 126051 h 1046575"/>
              <a:gd name="csX6" fmla="*/ 11313626 w 11337758"/>
              <a:gd name="csY6" fmla="*/ 421426 h 1046575"/>
              <a:gd name="csX7" fmla="*/ 11313626 w 11337758"/>
              <a:gd name="csY7" fmla="*/ 625148 h 1046575"/>
              <a:gd name="csX8" fmla="*/ 11165825 w 11337758"/>
              <a:gd name="csY8" fmla="*/ 920526 h 1046575"/>
              <a:gd name="csX9" fmla="*/ 10962101 w 11337758"/>
              <a:gd name="csY9" fmla="*/ 1046574 h 1046575"/>
              <a:gd name="csX10" fmla="*/ 10775069 w 11337758"/>
              <a:gd name="csY10" fmla="*/ 1046574 h 1046575"/>
              <a:gd name="csX11" fmla="*/ 10476556 w 11337758"/>
              <a:gd name="csY11" fmla="*/ 1046574 h 1046575"/>
              <a:gd name="csX12" fmla="*/ 10476551 w 11337758"/>
              <a:gd name="csY12" fmla="*/ 1046575 h 1046575"/>
              <a:gd name="csX13" fmla="*/ 121434 w 11337758"/>
              <a:gd name="csY13" fmla="*/ 1046575 h 1046575"/>
              <a:gd name="csX14" fmla="*/ 0 w 11337758"/>
              <a:gd name="csY14" fmla="*/ 925141 h 1046575"/>
              <a:gd name="csX15" fmla="*/ 0 w 11337758"/>
              <a:gd name="csY15" fmla="*/ 121434 h 1046575"/>
              <a:gd name="csX16" fmla="*/ 121434 w 11337758"/>
              <a:gd name="csY16" fmla="*/ 0 h 10465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1337758" h="1046575">
                <a:moveTo>
                  <a:pt x="121434" y="0"/>
                </a:moveTo>
                <a:lnTo>
                  <a:pt x="9410894" y="0"/>
                </a:lnTo>
                <a:lnTo>
                  <a:pt x="10476551" y="0"/>
                </a:lnTo>
                <a:lnTo>
                  <a:pt x="10775069" y="0"/>
                </a:lnTo>
                <a:lnTo>
                  <a:pt x="10962101" y="0"/>
                </a:lnTo>
                <a:cubicBezTo>
                  <a:pt x="11048432" y="0"/>
                  <a:pt x="11127211" y="48823"/>
                  <a:pt x="11165825" y="126051"/>
                </a:cubicBezTo>
                <a:lnTo>
                  <a:pt x="11313626" y="421426"/>
                </a:lnTo>
                <a:cubicBezTo>
                  <a:pt x="11345803" y="485562"/>
                  <a:pt x="11345803" y="561015"/>
                  <a:pt x="11313626" y="625148"/>
                </a:cubicBezTo>
                <a:lnTo>
                  <a:pt x="11165825" y="920526"/>
                </a:lnTo>
                <a:cubicBezTo>
                  <a:pt x="11127211" y="997752"/>
                  <a:pt x="11048432" y="1046574"/>
                  <a:pt x="10962101" y="1046574"/>
                </a:cubicBezTo>
                <a:lnTo>
                  <a:pt x="10775069" y="1046574"/>
                </a:lnTo>
                <a:lnTo>
                  <a:pt x="10476556" y="1046574"/>
                </a:lnTo>
                <a:lnTo>
                  <a:pt x="10476551" y="1046575"/>
                </a:lnTo>
                <a:lnTo>
                  <a:pt x="121434" y="1046575"/>
                </a:lnTo>
                <a:cubicBezTo>
                  <a:pt x="54368" y="1046575"/>
                  <a:pt x="0" y="992207"/>
                  <a:pt x="0" y="925141"/>
                </a:cubicBezTo>
                <a:lnTo>
                  <a:pt x="0" y="121434"/>
                </a:lnTo>
                <a:cubicBezTo>
                  <a:pt x="0" y="54368"/>
                  <a:pt x="54368" y="0"/>
                  <a:pt x="121434" y="0"/>
                </a:cubicBezTo>
                <a:close/>
              </a:path>
            </a:pathLst>
          </a:custGeom>
          <a:solidFill>
            <a:schemeClr val="bg1"/>
          </a:solidFill>
          <a:ln w="9525">
            <a:gradFill>
              <a:gsLst>
                <a:gs pos="0">
                  <a:srgbClr val="0971CA">
                    <a:alpha val="0"/>
                  </a:srgbClr>
                </a:gs>
                <a:gs pos="37000">
                  <a:srgbClr val="0971CA">
                    <a:alpha val="50000"/>
                  </a:srgbClr>
                </a:gs>
              </a:gsLst>
              <a:lin ang="0" scaled="0"/>
            </a:gradFill>
          </a:ln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74650" y="6474048"/>
            <a:ext cx="11442700" cy="20891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国际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《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过敏性结膜炎管理更新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(2024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年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)》(PMC)  2. 《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我国过敏性结膜炎诊断和治疗专家共识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(2018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年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)》  3.《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美国眼科临床指南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(PPP)》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第三版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.525   4《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日本过敏性结膜炎疾病指南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(2022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年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)》</a:t>
            </a:r>
            <a:endParaRPr lang="en-US" altLang="zh-CN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091690" y="348289"/>
            <a:ext cx="972566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指南推荐级别最高，一线治疗地位明确</a:t>
            </a:r>
            <a:endParaRPr lang="zh-CN" altLang="en-US" sz="2400" b="1">
              <a:gradFill>
                <a:gsLst>
                  <a:gs pos="5000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8" name="任意多边形: 形状 7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9" name="任意多边形: 形状 8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有效性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sp>
        <p:nvSpPr>
          <p:cNvPr id="96" name="任意多边形: 形状 95"/>
          <p:cNvSpPr/>
          <p:nvPr>
            <p:custDataLst>
              <p:tags r:id="rId4"/>
            </p:custDataLst>
          </p:nvPr>
        </p:nvSpPr>
        <p:spPr>
          <a:xfrm>
            <a:off x="479589" y="2441153"/>
            <a:ext cx="11337758" cy="1046575"/>
          </a:xfrm>
          <a:custGeom>
            <a:avLst/>
            <a:gdLst>
              <a:gd name="csX0" fmla="*/ 121434 w 11337758"/>
              <a:gd name="csY0" fmla="*/ 0 h 1046575"/>
              <a:gd name="csX1" fmla="*/ 9410894 w 11337758"/>
              <a:gd name="csY1" fmla="*/ 0 h 1046575"/>
              <a:gd name="csX2" fmla="*/ 10476551 w 11337758"/>
              <a:gd name="csY2" fmla="*/ 0 h 1046575"/>
              <a:gd name="csX3" fmla="*/ 10775069 w 11337758"/>
              <a:gd name="csY3" fmla="*/ 0 h 1046575"/>
              <a:gd name="csX4" fmla="*/ 10962101 w 11337758"/>
              <a:gd name="csY4" fmla="*/ 0 h 1046575"/>
              <a:gd name="csX5" fmla="*/ 11165825 w 11337758"/>
              <a:gd name="csY5" fmla="*/ 126051 h 1046575"/>
              <a:gd name="csX6" fmla="*/ 11313626 w 11337758"/>
              <a:gd name="csY6" fmla="*/ 421426 h 1046575"/>
              <a:gd name="csX7" fmla="*/ 11313626 w 11337758"/>
              <a:gd name="csY7" fmla="*/ 625148 h 1046575"/>
              <a:gd name="csX8" fmla="*/ 11165825 w 11337758"/>
              <a:gd name="csY8" fmla="*/ 920526 h 1046575"/>
              <a:gd name="csX9" fmla="*/ 10962101 w 11337758"/>
              <a:gd name="csY9" fmla="*/ 1046574 h 1046575"/>
              <a:gd name="csX10" fmla="*/ 10775069 w 11337758"/>
              <a:gd name="csY10" fmla="*/ 1046574 h 1046575"/>
              <a:gd name="csX11" fmla="*/ 10476556 w 11337758"/>
              <a:gd name="csY11" fmla="*/ 1046574 h 1046575"/>
              <a:gd name="csX12" fmla="*/ 10476551 w 11337758"/>
              <a:gd name="csY12" fmla="*/ 1046575 h 1046575"/>
              <a:gd name="csX13" fmla="*/ 121434 w 11337758"/>
              <a:gd name="csY13" fmla="*/ 1046575 h 1046575"/>
              <a:gd name="csX14" fmla="*/ 0 w 11337758"/>
              <a:gd name="csY14" fmla="*/ 925141 h 1046575"/>
              <a:gd name="csX15" fmla="*/ 0 w 11337758"/>
              <a:gd name="csY15" fmla="*/ 121434 h 1046575"/>
              <a:gd name="csX16" fmla="*/ 121434 w 11337758"/>
              <a:gd name="csY16" fmla="*/ 0 h 10465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11337758" h="1046575">
                <a:moveTo>
                  <a:pt x="121434" y="0"/>
                </a:moveTo>
                <a:lnTo>
                  <a:pt x="9410894" y="0"/>
                </a:lnTo>
                <a:lnTo>
                  <a:pt x="10476551" y="0"/>
                </a:lnTo>
                <a:lnTo>
                  <a:pt x="10775069" y="0"/>
                </a:lnTo>
                <a:lnTo>
                  <a:pt x="10962101" y="0"/>
                </a:lnTo>
                <a:cubicBezTo>
                  <a:pt x="11048432" y="0"/>
                  <a:pt x="11127211" y="48823"/>
                  <a:pt x="11165825" y="126051"/>
                </a:cubicBezTo>
                <a:lnTo>
                  <a:pt x="11313626" y="421426"/>
                </a:lnTo>
                <a:cubicBezTo>
                  <a:pt x="11345803" y="485562"/>
                  <a:pt x="11345803" y="561015"/>
                  <a:pt x="11313626" y="625148"/>
                </a:cubicBezTo>
                <a:lnTo>
                  <a:pt x="11165825" y="920526"/>
                </a:lnTo>
                <a:cubicBezTo>
                  <a:pt x="11127211" y="997752"/>
                  <a:pt x="11048432" y="1046574"/>
                  <a:pt x="10962101" y="1046574"/>
                </a:cubicBezTo>
                <a:lnTo>
                  <a:pt x="10775069" y="1046574"/>
                </a:lnTo>
                <a:lnTo>
                  <a:pt x="10476556" y="1046574"/>
                </a:lnTo>
                <a:lnTo>
                  <a:pt x="10476551" y="1046575"/>
                </a:lnTo>
                <a:lnTo>
                  <a:pt x="121434" y="1046575"/>
                </a:lnTo>
                <a:cubicBezTo>
                  <a:pt x="54368" y="1046575"/>
                  <a:pt x="0" y="992207"/>
                  <a:pt x="0" y="925141"/>
                </a:cubicBezTo>
                <a:lnTo>
                  <a:pt x="0" y="121434"/>
                </a:lnTo>
                <a:cubicBezTo>
                  <a:pt x="0" y="54368"/>
                  <a:pt x="54368" y="0"/>
                  <a:pt x="121434" y="0"/>
                </a:cubicBezTo>
                <a:close/>
              </a:path>
            </a:pathLst>
          </a:custGeom>
          <a:solidFill>
            <a:schemeClr val="bg1"/>
          </a:solidFill>
          <a:ln w="9525">
            <a:gradFill>
              <a:gsLst>
                <a:gs pos="0">
                  <a:srgbClr val="0971CA">
                    <a:alpha val="0"/>
                  </a:srgbClr>
                </a:gs>
                <a:gs pos="37000">
                  <a:srgbClr val="0971CA">
                    <a:alpha val="50000"/>
                  </a:srgbClr>
                </a:gs>
              </a:gsLst>
              <a:lin ang="0" scaled="0"/>
            </a:gradFill>
          </a:ln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395657" y="1207184"/>
            <a:ext cx="1197839" cy="1046575"/>
            <a:chOff x="395657" y="1207184"/>
            <a:chExt cx="1197839" cy="1046575"/>
          </a:xfrm>
        </p:grpSpPr>
        <p:sp>
          <p:nvSpPr>
            <p:cNvPr id="15" name="任意多边形: 形状 14"/>
            <p:cNvSpPr/>
            <p:nvPr/>
          </p:nvSpPr>
          <p:spPr>
            <a:xfrm flipH="1">
              <a:off x="479591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 lang="zh-CN" altLang="en-US" sz="2000" b="1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19" name="任意多边形: 形状 18"/>
            <p:cNvSpPr/>
            <p:nvPr/>
          </p:nvSpPr>
          <p:spPr>
            <a:xfrm flipH="1">
              <a:off x="395657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2800">
                  <a:gradFill>
                    <a:gsLst>
                      <a:gs pos="100000">
                        <a:schemeClr val="bg1"/>
                      </a:gs>
                      <a:gs pos="54000">
                        <a:schemeClr val="bg1"/>
                      </a:gs>
                    </a:gsLst>
                    <a:lin ang="0" scaled="0"/>
                  </a:gradFill>
                  <a:latin typeface="Impact" panose="020B0806030902050204" pitchFamily="34" charset="0"/>
                </a:rPr>
                <a:t>01</a:t>
              </a:r>
              <a:endParaRPr lang="zh-CN" altLang="en-US" sz="2800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Impact" panose="020B0806030902050204" pitchFamily="34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3899529" y="3871218"/>
            <a:ext cx="7681595" cy="683895"/>
            <a:chOff x="2641768" y="1416544"/>
            <a:chExt cx="7681595" cy="683895"/>
          </a:xfrm>
        </p:grpSpPr>
        <p:sp>
          <p:nvSpPr>
            <p:cNvPr id="25" name="文本框 24"/>
            <p:cNvSpPr txBox="1"/>
            <p:nvPr>
              <p:custDataLst>
                <p:tags r:id="rId5"/>
              </p:custDataLst>
            </p:nvPr>
          </p:nvSpPr>
          <p:spPr>
            <a:xfrm>
              <a:off x="2641769" y="1416544"/>
              <a:ext cx="4453710" cy="368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美国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《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眼科临床指南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(PPP)》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第三版</a:t>
              </a:r>
              <a:endParaRPr lang="zh-CN" altLang="en-US" b="1">
                <a:solidFill>
                  <a:srgbClr val="0971CA"/>
                </a:solidFill>
                <a:latin typeface="+mn-ea"/>
              </a:endParaRPr>
            </a:p>
          </p:txBody>
        </p:sp>
        <p:sp>
          <p:nvSpPr>
            <p:cNvPr id="26" name="文本框 25"/>
            <p:cNvSpPr txBox="1"/>
            <p:nvPr>
              <p:custDataLst>
                <p:tags r:id="rId6"/>
              </p:custDataLst>
            </p:nvPr>
          </p:nvSpPr>
          <p:spPr>
            <a:xfrm>
              <a:off x="2641768" y="1793734"/>
              <a:ext cx="7681595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0" fontAlgn="auto">
                <a:lnSpc>
                  <a:spcPct val="100000"/>
                </a:lnSpc>
              </a:pPr>
              <a:r>
                <a:rPr lang="en-US" altLang="zh-CN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H</a:t>
              </a:r>
              <a:r>
                <a:rPr lang="en-US" altLang="zh-CN" sz="1400" b="1" baseline="-25000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1</a:t>
              </a:r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组胺受体拮抗剂</a:t>
              </a:r>
              <a:r>
                <a:rPr lang="en-US" altLang="zh-CN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(I+,GQ,SR) </a:t>
              </a:r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，治疗季节性过敏性结膜炎，即</a:t>
              </a:r>
              <a:r>
                <a:rPr lang="en-US" altLang="zh-CN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I</a:t>
              </a:r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级证据，高质量，强烈建议</a:t>
              </a:r>
              <a:endParaRPr lang="zh-CN" altLang="en-US" sz="1400" b="1" dirty="0">
                <a:gradFill>
                  <a:gsLst>
                    <a:gs pos="8100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r="100000" b="100000"/>
                  </a:path>
                </a:gradFill>
                <a:latin typeface="+mn-ea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3899529" y="2579833"/>
            <a:ext cx="7879720" cy="884645"/>
            <a:chOff x="2641768" y="1416544"/>
            <a:chExt cx="7879720" cy="884645"/>
          </a:xfrm>
        </p:grpSpPr>
        <p:sp>
          <p:nvSpPr>
            <p:cNvPr id="29" name="文本框 28"/>
            <p:cNvSpPr txBox="1"/>
            <p:nvPr>
              <p:custDataLst>
                <p:tags r:id="rId7"/>
              </p:custDataLst>
            </p:nvPr>
          </p:nvSpPr>
          <p:spPr>
            <a:xfrm>
              <a:off x="2641768" y="1416544"/>
              <a:ext cx="6321435" cy="368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中国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《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过敏性结膜炎诊断和治疗专家共识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(2018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年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)》</a:t>
              </a:r>
              <a:endParaRPr lang="en-US" altLang="zh-CN" b="1">
                <a:solidFill>
                  <a:srgbClr val="0971CA"/>
                </a:solidFill>
                <a:latin typeface="+mn-ea"/>
              </a:endParaRPr>
            </a:p>
          </p:txBody>
        </p:sp>
        <p:sp>
          <p:nvSpPr>
            <p:cNvPr id="30" name="文本框 29"/>
            <p:cNvSpPr txBox="1"/>
            <p:nvPr>
              <p:custDataLst>
                <p:tags r:id="rId8"/>
              </p:custDataLst>
            </p:nvPr>
          </p:nvSpPr>
          <p:spPr>
            <a:xfrm>
              <a:off x="2641768" y="1779219"/>
              <a:ext cx="787972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0" fontAlgn="auto">
                <a:lnSpc>
                  <a:spcPct val="100000"/>
                </a:lnSpc>
              </a:pPr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局部抗组胺药为轻中度过敏性结膜炎一线治疗，西替利嗪因“快速起效、长效、低刺激、儿童适用” 被重点推荐</a:t>
              </a:r>
              <a:endParaRPr lang="zh-CN" altLang="en-US" sz="1400" b="1">
                <a:gradFill>
                  <a:gsLst>
                    <a:gs pos="8100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r="100000" b="100000"/>
                  </a:path>
                </a:gradFill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3869050" y="5095059"/>
            <a:ext cx="6769746" cy="703139"/>
            <a:chOff x="2611289" y="1397494"/>
            <a:chExt cx="6769746" cy="703139"/>
          </a:xfrm>
        </p:grpSpPr>
        <p:sp>
          <p:nvSpPr>
            <p:cNvPr id="33" name="文本框 32"/>
            <p:cNvSpPr txBox="1"/>
            <p:nvPr>
              <p:custDataLst>
                <p:tags r:id="rId9"/>
              </p:custDataLst>
            </p:nvPr>
          </p:nvSpPr>
          <p:spPr>
            <a:xfrm>
              <a:off x="2611289" y="1397494"/>
              <a:ext cx="4453710" cy="368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《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日本过敏性结膜炎的疾病指南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(2022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年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)》</a:t>
              </a:r>
              <a:endParaRPr lang="en-US" altLang="zh-CN" b="1">
                <a:solidFill>
                  <a:srgbClr val="0971CA"/>
                </a:solidFill>
                <a:latin typeface="+mn-ea"/>
              </a:endParaRPr>
            </a:p>
          </p:txBody>
        </p:sp>
        <p:sp>
          <p:nvSpPr>
            <p:cNvPr id="36" name="文本框 35"/>
            <p:cNvSpPr txBox="1"/>
            <p:nvPr>
              <p:custDataLst>
                <p:tags r:id="rId10"/>
              </p:custDataLst>
            </p:nvPr>
          </p:nvSpPr>
          <p:spPr>
            <a:xfrm>
              <a:off x="2705268" y="1793928"/>
              <a:ext cx="6675767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组胺</a:t>
              </a:r>
              <a:r>
                <a:rPr lang="en-US" altLang="zh-CN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H</a:t>
              </a:r>
              <a:r>
                <a:rPr lang="en-US" altLang="zh-CN" sz="1400" b="1" baseline="-25000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1</a:t>
              </a:r>
              <a:r>
                <a:rPr lang="zh-CN" altLang="en-US" sz="1400" b="1">
                  <a:gradFill>
                    <a:gsLst>
                      <a:gs pos="81000">
                        <a:schemeClr val="tx1"/>
                      </a:gs>
                      <a:gs pos="100000">
                        <a:schemeClr val="tx1"/>
                      </a:gs>
                    </a:gsLst>
                    <a:path path="circle">
                      <a:fillToRect r="100000" b="100000"/>
                    </a:path>
                  </a:gradFill>
                  <a:latin typeface="+mn-ea"/>
                </a:rPr>
                <a:t>受体拮抗剂是过敏性结膜炎的一线治疗选择</a:t>
              </a:r>
              <a:endParaRPr lang="zh-CN" altLang="en-US" sz="1400" b="1" dirty="0">
                <a:gradFill>
                  <a:gsLst>
                    <a:gs pos="81000">
                      <a:schemeClr val="tx1"/>
                    </a:gs>
                    <a:gs pos="100000">
                      <a:schemeClr val="tx1"/>
                    </a:gs>
                  </a:gsLst>
                  <a:path path="circle">
                    <a:fillToRect r="100000" b="100000"/>
                  </a:path>
                </a:gradFill>
                <a:latin typeface="+mn-ea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778635" y="2618733"/>
            <a:ext cx="691415" cy="691415"/>
            <a:chOff x="1809750" y="2737074"/>
            <a:chExt cx="333152" cy="333152"/>
          </a:xfrm>
        </p:grpSpPr>
        <p:sp>
          <p:nvSpPr>
            <p:cNvPr id="47" name="任意多边形: 形状 46"/>
            <p:cNvSpPr/>
            <p:nvPr/>
          </p:nvSpPr>
          <p:spPr>
            <a:xfrm>
              <a:off x="1809750" y="2737074"/>
              <a:ext cx="333152" cy="333152"/>
            </a:xfrm>
            <a:custGeom>
              <a:avLst/>
              <a:gdLst>
                <a:gd name="csX0" fmla="*/ 166576 w 333152"/>
                <a:gd name="csY0" fmla="*/ 0 h 333152"/>
                <a:gd name="csX1" fmla="*/ 333152 w 333152"/>
                <a:gd name="csY1" fmla="*/ 166576 h 333152"/>
                <a:gd name="csX2" fmla="*/ 166576 w 333152"/>
                <a:gd name="csY2" fmla="*/ 333152 h 333152"/>
                <a:gd name="csX3" fmla="*/ 0 w 333152"/>
                <a:gd name="csY3" fmla="*/ 166576 h 333152"/>
                <a:gd name="csX4" fmla="*/ 166576 w 333152"/>
                <a:gd name="csY4" fmla="*/ 0 h 33315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333152" h="333152">
                  <a:moveTo>
                    <a:pt x="166576" y="0"/>
                  </a:moveTo>
                  <a:cubicBezTo>
                    <a:pt x="258573" y="0"/>
                    <a:pt x="333152" y="74579"/>
                    <a:pt x="333152" y="166576"/>
                  </a:cubicBezTo>
                  <a:cubicBezTo>
                    <a:pt x="333152" y="258573"/>
                    <a:pt x="258573" y="333152"/>
                    <a:pt x="166576" y="333152"/>
                  </a:cubicBezTo>
                  <a:cubicBezTo>
                    <a:pt x="74579" y="333152"/>
                    <a:pt x="0" y="258573"/>
                    <a:pt x="0" y="166576"/>
                  </a:cubicBezTo>
                  <a:cubicBezTo>
                    <a:pt x="0" y="74579"/>
                    <a:pt x="74579" y="0"/>
                    <a:pt x="166576" y="0"/>
                  </a:cubicBezTo>
                  <a:close/>
                </a:path>
              </a:pathLst>
            </a:custGeom>
            <a:solidFill>
              <a:srgbClr val="D8231D"/>
            </a:solidFill>
            <a:ln w="453" cap="flat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1835635" y="2804677"/>
              <a:ext cx="251730" cy="204609"/>
            </a:xfrm>
            <a:custGeom>
              <a:avLst/>
              <a:gdLst>
                <a:gd name="csX0" fmla="*/ 217024 w 251730"/>
                <a:gd name="csY0" fmla="*/ 47334 h 204609"/>
                <a:gd name="csX1" fmla="*/ 223622 w 251730"/>
                <a:gd name="csY1" fmla="*/ 53498 h 204609"/>
                <a:gd name="csX2" fmla="*/ 230174 w 251730"/>
                <a:gd name="csY2" fmla="*/ 60089 h 204609"/>
                <a:gd name="csX3" fmla="*/ 246964 w 251730"/>
                <a:gd name="csY3" fmla="*/ 52328 h 204609"/>
                <a:gd name="csX4" fmla="*/ 242854 w 251730"/>
                <a:gd name="csY4" fmla="*/ 60427 h 204609"/>
                <a:gd name="csX5" fmla="*/ 238487 w 251730"/>
                <a:gd name="csY5" fmla="*/ 68413 h 204609"/>
                <a:gd name="csX6" fmla="*/ 251731 w 251730"/>
                <a:gd name="csY6" fmla="*/ 81596 h 204609"/>
                <a:gd name="csX7" fmla="*/ 250322 w 251730"/>
                <a:gd name="csY7" fmla="*/ 81596 h 204609"/>
                <a:gd name="csX8" fmla="*/ 234307 w 251730"/>
                <a:gd name="csY8" fmla="*/ 78717 h 204609"/>
                <a:gd name="csX9" fmla="*/ 231959 w 251730"/>
                <a:gd name="csY9" fmla="*/ 79864 h 204609"/>
                <a:gd name="csX10" fmla="*/ 224538 w 251730"/>
                <a:gd name="csY10" fmla="*/ 93362 h 204609"/>
                <a:gd name="csX11" fmla="*/ 223646 w 251730"/>
                <a:gd name="csY11" fmla="*/ 94780 h 204609"/>
                <a:gd name="csX12" fmla="*/ 223082 w 251730"/>
                <a:gd name="csY12" fmla="*/ 91135 h 204609"/>
                <a:gd name="csX13" fmla="*/ 221110 w 251730"/>
                <a:gd name="csY13" fmla="*/ 77637 h 204609"/>
                <a:gd name="csX14" fmla="*/ 219772 w 251730"/>
                <a:gd name="csY14" fmla="*/ 76309 h 204609"/>
                <a:gd name="csX15" fmla="*/ 203334 w 251730"/>
                <a:gd name="csY15" fmla="*/ 73430 h 204609"/>
                <a:gd name="csX16" fmla="*/ 202488 w 251730"/>
                <a:gd name="csY16" fmla="*/ 73115 h 204609"/>
                <a:gd name="csX17" fmla="*/ 210824 w 251730"/>
                <a:gd name="csY17" fmla="*/ 69110 h 204609"/>
                <a:gd name="csX18" fmla="*/ 219325 w 251730"/>
                <a:gd name="csY18" fmla="*/ 65196 h 204609"/>
                <a:gd name="csX19" fmla="*/ 216977 w 251730"/>
                <a:gd name="csY19" fmla="*/ 47446 h 204609"/>
                <a:gd name="csX20" fmla="*/ 159821 w 251730"/>
                <a:gd name="csY20" fmla="*/ 7379 h 204609"/>
                <a:gd name="csX21" fmla="*/ 160103 w 251730"/>
                <a:gd name="csY21" fmla="*/ 7154 h 204609"/>
                <a:gd name="csX22" fmla="*/ 177221 w 251730"/>
                <a:gd name="csY22" fmla="*/ 13903 h 204609"/>
                <a:gd name="csX23" fmla="*/ 189479 w 251730"/>
                <a:gd name="csY23" fmla="*/ 0 h 204609"/>
                <a:gd name="csX24" fmla="*/ 189479 w 251730"/>
                <a:gd name="csY24" fmla="*/ 1890 h 204609"/>
                <a:gd name="csX25" fmla="*/ 188423 w 251730"/>
                <a:gd name="csY25" fmla="*/ 16805 h 204609"/>
                <a:gd name="csX26" fmla="*/ 189761 w 251730"/>
                <a:gd name="csY26" fmla="*/ 18830 h 204609"/>
                <a:gd name="csX27" fmla="*/ 204766 w 251730"/>
                <a:gd name="csY27" fmla="*/ 24634 h 204609"/>
                <a:gd name="csX28" fmla="*/ 206011 w 251730"/>
                <a:gd name="csY28" fmla="*/ 25152 h 204609"/>
                <a:gd name="csX29" fmla="*/ 204602 w 251730"/>
                <a:gd name="csY29" fmla="*/ 25624 h 204609"/>
                <a:gd name="csX30" fmla="*/ 188751 w 251730"/>
                <a:gd name="csY30" fmla="*/ 29336 h 204609"/>
                <a:gd name="csX31" fmla="*/ 187295 w 251730"/>
                <a:gd name="csY31" fmla="*/ 30956 h 204609"/>
                <a:gd name="csX32" fmla="*/ 186168 w 251730"/>
                <a:gd name="csY32" fmla="*/ 47221 h 204609"/>
                <a:gd name="csX33" fmla="*/ 186027 w 251730"/>
                <a:gd name="csY33" fmla="*/ 48031 h 204609"/>
                <a:gd name="csX34" fmla="*/ 185064 w 251730"/>
                <a:gd name="csY34" fmla="*/ 46613 h 204609"/>
                <a:gd name="csX35" fmla="*/ 176540 w 251730"/>
                <a:gd name="csY35" fmla="*/ 33633 h 204609"/>
                <a:gd name="csX36" fmla="*/ 174192 w 251730"/>
                <a:gd name="csY36" fmla="*/ 32801 h 204609"/>
                <a:gd name="csX37" fmla="*/ 158506 w 251730"/>
                <a:gd name="csY37" fmla="*/ 36467 h 204609"/>
                <a:gd name="csX38" fmla="*/ 157167 w 251730"/>
                <a:gd name="csY38" fmla="*/ 36715 h 204609"/>
                <a:gd name="csX39" fmla="*/ 169425 w 251730"/>
                <a:gd name="csY39" fmla="*/ 22744 h 204609"/>
                <a:gd name="csX40" fmla="*/ 159774 w 251730"/>
                <a:gd name="csY40" fmla="*/ 7536 h 204609"/>
                <a:gd name="csX41" fmla="*/ 130703 w 251730"/>
                <a:gd name="csY41" fmla="*/ 70685 h 204609"/>
                <a:gd name="csX42" fmla="*/ 93577 w 251730"/>
                <a:gd name="csY42" fmla="*/ 96939 h 204609"/>
                <a:gd name="csX43" fmla="*/ 92661 w 251730"/>
                <a:gd name="csY43" fmla="*/ 97592 h 204609"/>
                <a:gd name="csX44" fmla="*/ 92027 w 251730"/>
                <a:gd name="csY44" fmla="*/ 99639 h 204609"/>
                <a:gd name="csX45" fmla="*/ 102172 w 251730"/>
                <a:gd name="csY45" fmla="*/ 129335 h 204609"/>
                <a:gd name="csX46" fmla="*/ 106868 w 251730"/>
                <a:gd name="csY46" fmla="*/ 143148 h 204609"/>
                <a:gd name="csX47" fmla="*/ 107220 w 251730"/>
                <a:gd name="csY47" fmla="*/ 144250 h 204609"/>
                <a:gd name="csX48" fmla="*/ 106939 w 251730"/>
                <a:gd name="csY48" fmla="*/ 144250 h 204609"/>
                <a:gd name="csX49" fmla="*/ 106117 w 251730"/>
                <a:gd name="csY49" fmla="*/ 143710 h 204609"/>
                <a:gd name="csX50" fmla="*/ 66667 w 251730"/>
                <a:gd name="csY50" fmla="*/ 116039 h 204609"/>
                <a:gd name="csX51" fmla="*/ 66314 w 251730"/>
                <a:gd name="csY51" fmla="*/ 115837 h 204609"/>
                <a:gd name="csX52" fmla="*/ 65985 w 251730"/>
                <a:gd name="csY52" fmla="*/ 115837 h 204609"/>
                <a:gd name="csX53" fmla="*/ 25455 w 251730"/>
                <a:gd name="csY53" fmla="*/ 144385 h 204609"/>
                <a:gd name="csX54" fmla="*/ 25173 w 251730"/>
                <a:gd name="csY54" fmla="*/ 144183 h 204609"/>
                <a:gd name="csX55" fmla="*/ 40577 w 251730"/>
                <a:gd name="csY55" fmla="*/ 98042 h 204609"/>
                <a:gd name="csX56" fmla="*/ 0 w 251730"/>
                <a:gd name="csY56" fmla="*/ 69763 h 204609"/>
                <a:gd name="csX57" fmla="*/ 0 w 251730"/>
                <a:gd name="csY57" fmla="*/ 69425 h 204609"/>
                <a:gd name="csX58" fmla="*/ 48303 w 251730"/>
                <a:gd name="csY58" fmla="*/ 69425 h 204609"/>
                <a:gd name="csX59" fmla="*/ 50651 w 251730"/>
                <a:gd name="csY59" fmla="*/ 67738 h 204609"/>
                <a:gd name="csX60" fmla="*/ 65445 w 251730"/>
                <a:gd name="csY60" fmla="*/ 25466 h 204609"/>
                <a:gd name="csX61" fmla="*/ 66220 w 251730"/>
                <a:gd name="csY61" fmla="*/ 24027 h 204609"/>
                <a:gd name="csX62" fmla="*/ 81601 w 251730"/>
                <a:gd name="csY62" fmla="*/ 69403 h 204609"/>
                <a:gd name="csX63" fmla="*/ 89914 w 251730"/>
                <a:gd name="csY63" fmla="*/ 69403 h 204609"/>
                <a:gd name="csX64" fmla="*/ 131853 w 251730"/>
                <a:gd name="csY64" fmla="*/ 69403 h 204609"/>
                <a:gd name="csX65" fmla="*/ 131853 w 251730"/>
                <a:gd name="csY65" fmla="*/ 69696 h 204609"/>
                <a:gd name="csX66" fmla="*/ 204649 w 251730"/>
                <a:gd name="csY66" fmla="*/ 182247 h 204609"/>
                <a:gd name="csX67" fmla="*/ 188939 w 251730"/>
                <a:gd name="csY67" fmla="*/ 185892 h 204609"/>
                <a:gd name="csX68" fmla="*/ 187459 w 251730"/>
                <a:gd name="csY68" fmla="*/ 186297 h 204609"/>
                <a:gd name="csX69" fmla="*/ 186168 w 251730"/>
                <a:gd name="csY69" fmla="*/ 204609 h 204609"/>
                <a:gd name="csX70" fmla="*/ 185252 w 251730"/>
                <a:gd name="csY70" fmla="*/ 203372 h 204609"/>
                <a:gd name="csX71" fmla="*/ 176658 w 251730"/>
                <a:gd name="csY71" fmla="*/ 190279 h 204609"/>
                <a:gd name="csX72" fmla="*/ 174309 w 251730"/>
                <a:gd name="csY72" fmla="*/ 189379 h 204609"/>
                <a:gd name="csX73" fmla="*/ 158647 w 251730"/>
                <a:gd name="csY73" fmla="*/ 193091 h 204609"/>
                <a:gd name="csX74" fmla="*/ 157238 w 251730"/>
                <a:gd name="csY74" fmla="*/ 193316 h 204609"/>
                <a:gd name="csX75" fmla="*/ 169519 w 251730"/>
                <a:gd name="csY75" fmla="*/ 179323 h 204609"/>
                <a:gd name="csX76" fmla="*/ 159868 w 251730"/>
                <a:gd name="csY76" fmla="*/ 164137 h 204609"/>
                <a:gd name="csX77" fmla="*/ 160056 w 251730"/>
                <a:gd name="csY77" fmla="*/ 163912 h 204609"/>
                <a:gd name="csX78" fmla="*/ 168627 w 251730"/>
                <a:gd name="csY78" fmla="*/ 167174 h 204609"/>
                <a:gd name="csX79" fmla="*/ 177292 w 251730"/>
                <a:gd name="csY79" fmla="*/ 170549 h 204609"/>
                <a:gd name="csX80" fmla="*/ 189315 w 251730"/>
                <a:gd name="csY80" fmla="*/ 156871 h 204609"/>
                <a:gd name="csX81" fmla="*/ 189550 w 251730"/>
                <a:gd name="csY81" fmla="*/ 156871 h 204609"/>
                <a:gd name="csX82" fmla="*/ 189550 w 251730"/>
                <a:gd name="csY82" fmla="*/ 158401 h 204609"/>
                <a:gd name="csX83" fmla="*/ 188493 w 251730"/>
                <a:gd name="csY83" fmla="*/ 173271 h 204609"/>
                <a:gd name="csX84" fmla="*/ 188493 w 251730"/>
                <a:gd name="csY84" fmla="*/ 173811 h 204609"/>
                <a:gd name="csX85" fmla="*/ 189325 w 251730"/>
                <a:gd name="csY85" fmla="*/ 175188 h 204609"/>
                <a:gd name="csX86" fmla="*/ 189409 w 251730"/>
                <a:gd name="csY86" fmla="*/ 175206 h 204609"/>
                <a:gd name="csX87" fmla="*/ 195890 w 251730"/>
                <a:gd name="csY87" fmla="*/ 177703 h 204609"/>
                <a:gd name="csX88" fmla="*/ 204907 w 251730"/>
                <a:gd name="csY88" fmla="*/ 181168 h 204609"/>
                <a:gd name="csX89" fmla="*/ 206152 w 251730"/>
                <a:gd name="csY89" fmla="*/ 181662 h 204609"/>
                <a:gd name="csX90" fmla="*/ 204672 w 251730"/>
                <a:gd name="csY90" fmla="*/ 182135 h 204609"/>
                <a:gd name="csX91" fmla="*/ 250134 w 251730"/>
                <a:gd name="csY91" fmla="*/ 128435 h 204609"/>
                <a:gd name="csX92" fmla="*/ 237736 w 251730"/>
                <a:gd name="csY92" fmla="*/ 137681 h 204609"/>
                <a:gd name="csX93" fmla="*/ 237031 w 251730"/>
                <a:gd name="csY93" fmla="*/ 139931 h 204609"/>
                <a:gd name="csX94" fmla="*/ 242385 w 251730"/>
                <a:gd name="csY94" fmla="*/ 154261 h 204609"/>
                <a:gd name="csX95" fmla="*/ 242549 w 251730"/>
                <a:gd name="csY95" fmla="*/ 155679 h 204609"/>
                <a:gd name="csX96" fmla="*/ 227051 w 251730"/>
                <a:gd name="csY96" fmla="*/ 145398 h 204609"/>
                <a:gd name="csX97" fmla="*/ 212163 w 251730"/>
                <a:gd name="csY97" fmla="*/ 156466 h 204609"/>
                <a:gd name="csX98" fmla="*/ 211928 w 251730"/>
                <a:gd name="csY98" fmla="*/ 156286 h 204609"/>
                <a:gd name="csX99" fmla="*/ 217165 w 251730"/>
                <a:gd name="csY99" fmla="*/ 138941 h 204609"/>
                <a:gd name="csX100" fmla="*/ 201808 w 251730"/>
                <a:gd name="csY100" fmla="*/ 128817 h 204609"/>
                <a:gd name="csX101" fmla="*/ 201808 w 251730"/>
                <a:gd name="csY101" fmla="*/ 128480 h 204609"/>
                <a:gd name="csX102" fmla="*/ 220476 w 251730"/>
                <a:gd name="csY102" fmla="*/ 127917 h 204609"/>
                <a:gd name="csX103" fmla="*/ 225900 w 251730"/>
                <a:gd name="csY103" fmla="*/ 110865 h 204609"/>
                <a:gd name="csX104" fmla="*/ 226135 w 251730"/>
                <a:gd name="csY104" fmla="*/ 110865 h 204609"/>
                <a:gd name="csX105" fmla="*/ 226699 w 251730"/>
                <a:gd name="csY105" fmla="*/ 112215 h 204609"/>
                <a:gd name="csX106" fmla="*/ 231982 w 251730"/>
                <a:gd name="csY106" fmla="*/ 126433 h 204609"/>
                <a:gd name="csX107" fmla="*/ 233861 w 251730"/>
                <a:gd name="csY107" fmla="*/ 127670 h 204609"/>
                <a:gd name="csX108" fmla="*/ 249570 w 251730"/>
                <a:gd name="csY108" fmla="*/ 127220 h 204609"/>
                <a:gd name="csX109" fmla="*/ 251050 w 251730"/>
                <a:gd name="csY109" fmla="*/ 127220 h 204609"/>
                <a:gd name="csX110" fmla="*/ 251050 w 251730"/>
                <a:gd name="csY110" fmla="*/ 127490 h 20460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</a:cxnLst>
              <a:rect l="l" t="t" r="r" b="b"/>
              <a:pathLst>
                <a:path w="251730" h="204609">
                  <a:moveTo>
                    <a:pt x="217024" y="47334"/>
                  </a:moveTo>
                  <a:cubicBezTo>
                    <a:pt x="219352" y="49258"/>
                    <a:pt x="221555" y="51317"/>
                    <a:pt x="223622" y="53498"/>
                  </a:cubicBezTo>
                  <a:lnTo>
                    <a:pt x="230174" y="60089"/>
                  </a:lnTo>
                  <a:lnTo>
                    <a:pt x="246964" y="52328"/>
                  </a:lnTo>
                  <a:cubicBezTo>
                    <a:pt x="245772" y="55107"/>
                    <a:pt x="244400" y="57812"/>
                    <a:pt x="242854" y="60427"/>
                  </a:cubicBezTo>
                  <a:cubicBezTo>
                    <a:pt x="241446" y="63081"/>
                    <a:pt x="239966" y="65691"/>
                    <a:pt x="238487" y="68413"/>
                  </a:cubicBezTo>
                  <a:lnTo>
                    <a:pt x="251731" y="81596"/>
                  </a:lnTo>
                  <a:cubicBezTo>
                    <a:pt x="251262" y="81623"/>
                    <a:pt x="250791" y="81623"/>
                    <a:pt x="250322" y="81596"/>
                  </a:cubicBezTo>
                  <a:lnTo>
                    <a:pt x="234307" y="78717"/>
                  </a:lnTo>
                  <a:cubicBezTo>
                    <a:pt x="232757" y="78447"/>
                    <a:pt x="232757" y="78492"/>
                    <a:pt x="231959" y="79864"/>
                  </a:cubicBezTo>
                  <a:lnTo>
                    <a:pt x="224538" y="93362"/>
                  </a:lnTo>
                  <a:lnTo>
                    <a:pt x="223646" y="94780"/>
                  </a:lnTo>
                  <a:lnTo>
                    <a:pt x="223082" y="91135"/>
                  </a:lnTo>
                  <a:cubicBezTo>
                    <a:pt x="222378" y="86635"/>
                    <a:pt x="221744" y="82136"/>
                    <a:pt x="221110" y="77637"/>
                  </a:cubicBezTo>
                  <a:cubicBezTo>
                    <a:pt x="220922" y="76557"/>
                    <a:pt x="220922" y="76534"/>
                    <a:pt x="219772" y="76309"/>
                  </a:cubicBezTo>
                  <a:lnTo>
                    <a:pt x="203334" y="73430"/>
                  </a:lnTo>
                  <a:cubicBezTo>
                    <a:pt x="203033" y="73379"/>
                    <a:pt x="202746" y="73271"/>
                    <a:pt x="202488" y="73115"/>
                  </a:cubicBezTo>
                  <a:cubicBezTo>
                    <a:pt x="205236" y="71630"/>
                    <a:pt x="208054" y="70415"/>
                    <a:pt x="210824" y="69110"/>
                  </a:cubicBezTo>
                  <a:lnTo>
                    <a:pt x="219325" y="65196"/>
                  </a:lnTo>
                  <a:lnTo>
                    <a:pt x="216977" y="47446"/>
                  </a:lnTo>
                  <a:close/>
                  <a:moveTo>
                    <a:pt x="159821" y="7379"/>
                  </a:moveTo>
                  <a:lnTo>
                    <a:pt x="160103" y="7154"/>
                  </a:lnTo>
                  <a:lnTo>
                    <a:pt x="177221" y="13903"/>
                  </a:lnTo>
                  <a:lnTo>
                    <a:pt x="189479" y="0"/>
                  </a:lnTo>
                  <a:lnTo>
                    <a:pt x="189479" y="1890"/>
                  </a:lnTo>
                  <a:lnTo>
                    <a:pt x="188423" y="16805"/>
                  </a:lnTo>
                  <a:cubicBezTo>
                    <a:pt x="188423" y="18290"/>
                    <a:pt x="188423" y="18290"/>
                    <a:pt x="189761" y="18830"/>
                  </a:cubicBezTo>
                  <a:lnTo>
                    <a:pt x="204766" y="24634"/>
                  </a:lnTo>
                  <a:cubicBezTo>
                    <a:pt x="205118" y="24634"/>
                    <a:pt x="205400" y="24904"/>
                    <a:pt x="206011" y="25152"/>
                  </a:cubicBezTo>
                  <a:lnTo>
                    <a:pt x="204602" y="25624"/>
                  </a:lnTo>
                  <a:lnTo>
                    <a:pt x="188751" y="29336"/>
                  </a:lnTo>
                  <a:cubicBezTo>
                    <a:pt x="187413" y="29606"/>
                    <a:pt x="187413" y="29606"/>
                    <a:pt x="187295" y="30956"/>
                  </a:cubicBezTo>
                  <a:lnTo>
                    <a:pt x="186168" y="47221"/>
                  </a:lnTo>
                  <a:lnTo>
                    <a:pt x="186027" y="48031"/>
                  </a:lnTo>
                  <a:lnTo>
                    <a:pt x="185064" y="46613"/>
                  </a:lnTo>
                  <a:cubicBezTo>
                    <a:pt x="182247" y="42294"/>
                    <a:pt x="179429" y="37952"/>
                    <a:pt x="176540" y="33633"/>
                  </a:cubicBezTo>
                  <a:cubicBezTo>
                    <a:pt x="175766" y="32418"/>
                    <a:pt x="175718" y="32418"/>
                    <a:pt x="174192" y="32801"/>
                  </a:cubicBezTo>
                  <a:lnTo>
                    <a:pt x="158506" y="36467"/>
                  </a:lnTo>
                  <a:lnTo>
                    <a:pt x="157167" y="36715"/>
                  </a:lnTo>
                  <a:cubicBezTo>
                    <a:pt x="161324" y="31923"/>
                    <a:pt x="165339" y="27401"/>
                    <a:pt x="169425" y="22744"/>
                  </a:cubicBezTo>
                  <a:lnTo>
                    <a:pt x="159774" y="7536"/>
                  </a:lnTo>
                  <a:close/>
                  <a:moveTo>
                    <a:pt x="130703" y="70685"/>
                  </a:moveTo>
                  <a:lnTo>
                    <a:pt x="93577" y="96939"/>
                  </a:lnTo>
                  <a:lnTo>
                    <a:pt x="92661" y="97592"/>
                  </a:lnTo>
                  <a:cubicBezTo>
                    <a:pt x="91605" y="98379"/>
                    <a:pt x="91605" y="98379"/>
                    <a:pt x="92027" y="99639"/>
                  </a:cubicBezTo>
                  <a:lnTo>
                    <a:pt x="102172" y="129335"/>
                  </a:lnTo>
                  <a:lnTo>
                    <a:pt x="106868" y="143148"/>
                  </a:lnTo>
                  <a:lnTo>
                    <a:pt x="107220" y="144250"/>
                  </a:lnTo>
                  <a:lnTo>
                    <a:pt x="106939" y="144250"/>
                  </a:lnTo>
                  <a:lnTo>
                    <a:pt x="106117" y="143710"/>
                  </a:lnTo>
                  <a:lnTo>
                    <a:pt x="66667" y="116039"/>
                  </a:lnTo>
                  <a:lnTo>
                    <a:pt x="66314" y="115837"/>
                  </a:lnTo>
                  <a:lnTo>
                    <a:pt x="65985" y="115837"/>
                  </a:lnTo>
                  <a:lnTo>
                    <a:pt x="25455" y="144385"/>
                  </a:lnTo>
                  <a:lnTo>
                    <a:pt x="25173" y="144183"/>
                  </a:lnTo>
                  <a:lnTo>
                    <a:pt x="40577" y="98042"/>
                  </a:lnTo>
                  <a:lnTo>
                    <a:pt x="0" y="69763"/>
                  </a:lnTo>
                  <a:lnTo>
                    <a:pt x="0" y="69425"/>
                  </a:lnTo>
                  <a:lnTo>
                    <a:pt x="48303" y="69425"/>
                  </a:lnTo>
                  <a:cubicBezTo>
                    <a:pt x="50416" y="69425"/>
                    <a:pt x="50064" y="69673"/>
                    <a:pt x="50651" y="67738"/>
                  </a:cubicBezTo>
                  <a:lnTo>
                    <a:pt x="65445" y="25466"/>
                  </a:lnTo>
                  <a:cubicBezTo>
                    <a:pt x="65602" y="24943"/>
                    <a:pt x="65866" y="24454"/>
                    <a:pt x="66220" y="24027"/>
                  </a:cubicBezTo>
                  <a:lnTo>
                    <a:pt x="81601" y="69403"/>
                  </a:lnTo>
                  <a:cubicBezTo>
                    <a:pt x="84372" y="69538"/>
                    <a:pt x="87166" y="69403"/>
                    <a:pt x="89914" y="69403"/>
                  </a:cubicBezTo>
                  <a:lnTo>
                    <a:pt x="131853" y="69403"/>
                  </a:lnTo>
                  <a:lnTo>
                    <a:pt x="131853" y="69696"/>
                  </a:lnTo>
                  <a:close/>
                  <a:moveTo>
                    <a:pt x="204649" y="182247"/>
                  </a:moveTo>
                  <a:lnTo>
                    <a:pt x="188939" y="185892"/>
                  </a:lnTo>
                  <a:lnTo>
                    <a:pt x="187459" y="186297"/>
                  </a:lnTo>
                  <a:lnTo>
                    <a:pt x="186168" y="204609"/>
                  </a:lnTo>
                  <a:lnTo>
                    <a:pt x="185252" y="203372"/>
                  </a:lnTo>
                  <a:lnTo>
                    <a:pt x="176658" y="190279"/>
                  </a:lnTo>
                  <a:cubicBezTo>
                    <a:pt x="175836" y="189042"/>
                    <a:pt x="175812" y="189042"/>
                    <a:pt x="174309" y="189379"/>
                  </a:cubicBezTo>
                  <a:lnTo>
                    <a:pt x="158647" y="193091"/>
                  </a:lnTo>
                  <a:lnTo>
                    <a:pt x="157238" y="193316"/>
                  </a:lnTo>
                  <a:lnTo>
                    <a:pt x="169519" y="179323"/>
                  </a:lnTo>
                  <a:lnTo>
                    <a:pt x="159868" y="164137"/>
                  </a:lnTo>
                  <a:lnTo>
                    <a:pt x="160056" y="163912"/>
                  </a:lnTo>
                  <a:cubicBezTo>
                    <a:pt x="162968" y="164857"/>
                    <a:pt x="165762" y="166162"/>
                    <a:pt x="168627" y="167174"/>
                  </a:cubicBezTo>
                  <a:lnTo>
                    <a:pt x="177292" y="170549"/>
                  </a:lnTo>
                  <a:lnTo>
                    <a:pt x="189315" y="156871"/>
                  </a:lnTo>
                  <a:lnTo>
                    <a:pt x="189550" y="156871"/>
                  </a:lnTo>
                  <a:lnTo>
                    <a:pt x="189550" y="158401"/>
                  </a:lnTo>
                  <a:lnTo>
                    <a:pt x="188493" y="173271"/>
                  </a:lnTo>
                  <a:lnTo>
                    <a:pt x="188493" y="173811"/>
                  </a:lnTo>
                  <a:cubicBezTo>
                    <a:pt x="188326" y="174411"/>
                    <a:pt x="188698" y="175028"/>
                    <a:pt x="189325" y="175188"/>
                  </a:cubicBezTo>
                  <a:cubicBezTo>
                    <a:pt x="189353" y="175195"/>
                    <a:pt x="189381" y="175201"/>
                    <a:pt x="189409" y="175206"/>
                  </a:cubicBezTo>
                  <a:lnTo>
                    <a:pt x="195890" y="177703"/>
                  </a:lnTo>
                  <a:lnTo>
                    <a:pt x="204907" y="181168"/>
                  </a:lnTo>
                  <a:lnTo>
                    <a:pt x="206152" y="181662"/>
                  </a:lnTo>
                  <a:lnTo>
                    <a:pt x="204672" y="182135"/>
                  </a:lnTo>
                  <a:close/>
                  <a:moveTo>
                    <a:pt x="250134" y="128435"/>
                  </a:moveTo>
                  <a:lnTo>
                    <a:pt x="237736" y="137681"/>
                  </a:lnTo>
                  <a:cubicBezTo>
                    <a:pt x="236514" y="138581"/>
                    <a:pt x="236514" y="138581"/>
                    <a:pt x="237031" y="139931"/>
                  </a:cubicBezTo>
                  <a:lnTo>
                    <a:pt x="242385" y="154261"/>
                  </a:lnTo>
                  <a:cubicBezTo>
                    <a:pt x="242565" y="154712"/>
                    <a:pt x="242621" y="155200"/>
                    <a:pt x="242549" y="155679"/>
                  </a:cubicBezTo>
                  <a:lnTo>
                    <a:pt x="227051" y="145398"/>
                  </a:lnTo>
                  <a:lnTo>
                    <a:pt x="212163" y="156466"/>
                  </a:lnTo>
                  <a:lnTo>
                    <a:pt x="211928" y="156286"/>
                  </a:lnTo>
                  <a:lnTo>
                    <a:pt x="217165" y="138941"/>
                  </a:lnTo>
                  <a:lnTo>
                    <a:pt x="201808" y="128817"/>
                  </a:lnTo>
                  <a:lnTo>
                    <a:pt x="201808" y="128480"/>
                  </a:lnTo>
                  <a:cubicBezTo>
                    <a:pt x="207960" y="128188"/>
                    <a:pt x="214136" y="128255"/>
                    <a:pt x="220476" y="127917"/>
                  </a:cubicBezTo>
                  <a:lnTo>
                    <a:pt x="225900" y="110865"/>
                  </a:lnTo>
                  <a:lnTo>
                    <a:pt x="226135" y="110865"/>
                  </a:lnTo>
                  <a:lnTo>
                    <a:pt x="226699" y="112215"/>
                  </a:lnTo>
                  <a:lnTo>
                    <a:pt x="231982" y="126433"/>
                  </a:lnTo>
                  <a:cubicBezTo>
                    <a:pt x="232452" y="127715"/>
                    <a:pt x="232452" y="127715"/>
                    <a:pt x="233861" y="127670"/>
                  </a:cubicBezTo>
                  <a:lnTo>
                    <a:pt x="249570" y="127220"/>
                  </a:lnTo>
                  <a:lnTo>
                    <a:pt x="251050" y="127220"/>
                  </a:lnTo>
                  <a:lnTo>
                    <a:pt x="251050" y="127490"/>
                  </a:lnTo>
                  <a:close/>
                </a:path>
              </a:pathLst>
            </a:custGeom>
            <a:solidFill>
              <a:srgbClr val="FFFA30"/>
            </a:solidFill>
            <a:ln w="453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395657" y="2441153"/>
            <a:ext cx="1197839" cy="1046575"/>
            <a:chOff x="395657" y="1207184"/>
            <a:chExt cx="1197839" cy="1046575"/>
          </a:xfrm>
        </p:grpSpPr>
        <p:sp>
          <p:nvSpPr>
            <p:cNvPr id="57" name="任意多边形: 形状 56"/>
            <p:cNvSpPr/>
            <p:nvPr/>
          </p:nvSpPr>
          <p:spPr>
            <a:xfrm flipH="1">
              <a:off x="479591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 lang="zh-CN" altLang="en-US" sz="2000" b="1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58" name="任意多边形: 形状 57"/>
            <p:cNvSpPr/>
            <p:nvPr/>
          </p:nvSpPr>
          <p:spPr>
            <a:xfrm flipH="1">
              <a:off x="395657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2800">
                  <a:gradFill>
                    <a:gsLst>
                      <a:gs pos="100000">
                        <a:schemeClr val="bg1"/>
                      </a:gs>
                      <a:gs pos="54000">
                        <a:schemeClr val="bg1"/>
                      </a:gs>
                    </a:gsLst>
                    <a:lin ang="0" scaled="0"/>
                  </a:gradFill>
                  <a:latin typeface="Impact" panose="020B0806030902050204" pitchFamily="34" charset="0"/>
                </a:rPr>
                <a:t>02</a:t>
              </a:r>
              <a:endParaRPr lang="zh-CN" altLang="en-US" sz="2800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Impact" panose="020B0806030902050204" pitchFamily="34" charset="0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395657" y="3675122"/>
            <a:ext cx="1197839" cy="1046575"/>
            <a:chOff x="395657" y="1207184"/>
            <a:chExt cx="1197839" cy="1046575"/>
          </a:xfrm>
        </p:grpSpPr>
        <p:sp>
          <p:nvSpPr>
            <p:cNvPr id="62" name="任意多边形: 形状 61"/>
            <p:cNvSpPr/>
            <p:nvPr/>
          </p:nvSpPr>
          <p:spPr>
            <a:xfrm flipH="1">
              <a:off x="479591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 lang="zh-CN" altLang="en-US" sz="2000" b="1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88" name="任意多边形: 形状 87"/>
            <p:cNvSpPr/>
            <p:nvPr/>
          </p:nvSpPr>
          <p:spPr>
            <a:xfrm flipH="1">
              <a:off x="395657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2800">
                  <a:gradFill>
                    <a:gsLst>
                      <a:gs pos="100000">
                        <a:schemeClr val="bg1"/>
                      </a:gs>
                      <a:gs pos="54000">
                        <a:schemeClr val="bg1"/>
                      </a:gs>
                    </a:gsLst>
                    <a:lin ang="0" scaled="0"/>
                  </a:gradFill>
                  <a:latin typeface="Impact" panose="020B0806030902050204" pitchFamily="34" charset="0"/>
                </a:rPr>
                <a:t>03</a:t>
              </a:r>
              <a:endParaRPr lang="zh-CN" altLang="en-US" sz="2800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Impact" panose="020B0806030902050204" pitchFamily="34" charset="0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395657" y="4909091"/>
            <a:ext cx="1197839" cy="1046575"/>
            <a:chOff x="395657" y="1207184"/>
            <a:chExt cx="1197839" cy="1046575"/>
          </a:xfrm>
        </p:grpSpPr>
        <p:sp>
          <p:nvSpPr>
            <p:cNvPr id="90" name="任意多边形: 形状 89"/>
            <p:cNvSpPr/>
            <p:nvPr/>
          </p:nvSpPr>
          <p:spPr>
            <a:xfrm flipH="1">
              <a:off x="479591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 lang="zh-CN" altLang="en-US" sz="2000" b="1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91" name="任意多边形: 形状 90"/>
            <p:cNvSpPr/>
            <p:nvPr/>
          </p:nvSpPr>
          <p:spPr>
            <a:xfrm flipH="1">
              <a:off x="395657" y="1207184"/>
              <a:ext cx="1113905" cy="1046575"/>
            </a:xfrm>
            <a:custGeom>
              <a:avLst/>
              <a:gdLst>
                <a:gd name="csX0" fmla="*/ 992471 w 1113905"/>
                <a:gd name="csY0" fmla="*/ 0 h 1046575"/>
                <a:gd name="csX1" fmla="*/ 235451 w 1113905"/>
                <a:gd name="csY1" fmla="*/ 0 h 1046575"/>
                <a:gd name="csX2" fmla="*/ 211314 w 1113905"/>
                <a:gd name="csY2" fmla="*/ 35067 h 1046575"/>
                <a:gd name="csX3" fmla="*/ 29661 w 1113905"/>
                <a:gd name="csY3" fmla="*/ 398095 h 1046575"/>
                <a:gd name="csX4" fmla="*/ 29661 w 1113905"/>
                <a:gd name="csY4" fmla="*/ 648479 h 1046575"/>
                <a:gd name="csX5" fmla="*/ 211314 w 1113905"/>
                <a:gd name="csY5" fmla="*/ 1011510 h 1046575"/>
                <a:gd name="csX6" fmla="*/ 235450 w 1113905"/>
                <a:gd name="csY6" fmla="*/ 1046575 h 1046575"/>
                <a:gd name="csX7" fmla="*/ 992471 w 1113905"/>
                <a:gd name="csY7" fmla="*/ 1046575 h 1046575"/>
                <a:gd name="csX8" fmla="*/ 1113905 w 1113905"/>
                <a:gd name="csY8" fmla="*/ 925141 h 1046575"/>
                <a:gd name="csX9" fmla="*/ 1113905 w 1113905"/>
                <a:gd name="csY9" fmla="*/ 121434 h 1046575"/>
                <a:gd name="csX10" fmla="*/ 992471 w 1113905"/>
                <a:gd name="csY10" fmla="*/ 0 h 10465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1113905" h="1046575">
                  <a:moveTo>
                    <a:pt x="992471" y="0"/>
                  </a:moveTo>
                  <a:lnTo>
                    <a:pt x="235451" y="0"/>
                  </a:lnTo>
                  <a:lnTo>
                    <a:pt x="211314" y="35067"/>
                  </a:lnTo>
                  <a:lnTo>
                    <a:pt x="29661" y="398095"/>
                  </a:lnTo>
                  <a:cubicBezTo>
                    <a:pt x="-9887" y="476921"/>
                    <a:pt x="-9887" y="569655"/>
                    <a:pt x="29661" y="648479"/>
                  </a:cubicBezTo>
                  <a:lnTo>
                    <a:pt x="211314" y="1011510"/>
                  </a:lnTo>
                  <a:lnTo>
                    <a:pt x="235450" y="1046575"/>
                  </a:lnTo>
                  <a:lnTo>
                    <a:pt x="992471" y="1046575"/>
                  </a:lnTo>
                  <a:cubicBezTo>
                    <a:pt x="1059537" y="1046575"/>
                    <a:pt x="1113905" y="992207"/>
                    <a:pt x="1113905" y="925141"/>
                  </a:cubicBezTo>
                  <a:lnTo>
                    <a:pt x="1113905" y="121434"/>
                  </a:lnTo>
                  <a:cubicBezTo>
                    <a:pt x="1113905" y="54368"/>
                    <a:pt x="1059537" y="0"/>
                    <a:pt x="992471" y="0"/>
                  </a:cubicBezTo>
                  <a:close/>
                </a:path>
              </a:pathLst>
            </a:custGeom>
            <a:effectLst>
              <a:softEdge rad="50800"/>
            </a:effec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2800">
                  <a:gradFill>
                    <a:gsLst>
                      <a:gs pos="100000">
                        <a:schemeClr val="bg1"/>
                      </a:gs>
                      <a:gs pos="54000">
                        <a:schemeClr val="bg1"/>
                      </a:gs>
                    </a:gsLst>
                    <a:lin ang="0" scaled="0"/>
                  </a:gradFill>
                  <a:latin typeface="Impact" panose="020B0806030902050204" pitchFamily="34" charset="0"/>
                </a:rPr>
                <a:t>04</a:t>
              </a:r>
              <a:endParaRPr lang="zh-CN" altLang="en-US" sz="2800">
                <a:gradFill>
                  <a:gsLst>
                    <a:gs pos="100000">
                      <a:schemeClr val="bg1"/>
                    </a:gs>
                    <a:gs pos="54000">
                      <a:schemeClr val="bg1"/>
                    </a:gs>
                  </a:gsLst>
                  <a:lin ang="0" scaled="0"/>
                </a:gradFill>
                <a:latin typeface="Impact" panose="020B0806030902050204" pitchFamily="34" charset="0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3899529" y="1299140"/>
            <a:ext cx="7167245" cy="818515"/>
            <a:chOff x="4295943" y="1299140"/>
            <a:chExt cx="7167245" cy="818515"/>
          </a:xfrm>
        </p:grpSpPr>
        <p:sp>
          <p:nvSpPr>
            <p:cNvPr id="17" name="文本框 16"/>
            <p:cNvSpPr txBox="1"/>
            <p:nvPr>
              <p:custDataLst>
                <p:tags r:id="rId11"/>
              </p:custDataLst>
            </p:nvPr>
          </p:nvSpPr>
          <p:spPr>
            <a:xfrm>
              <a:off x="4295943" y="1299140"/>
              <a:ext cx="5180973" cy="3683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国际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《</a:t>
              </a:r>
              <a:r>
                <a:rPr lang="zh-CN" altLang="en-US" b="1">
                  <a:solidFill>
                    <a:srgbClr val="0971CA"/>
                  </a:solidFill>
                  <a:latin typeface="+mn-ea"/>
                </a:rPr>
                <a:t>过敏性结膜炎管理更新</a:t>
              </a:r>
              <a:r>
                <a:rPr lang="en-US" altLang="zh-CN" b="1">
                  <a:solidFill>
                    <a:srgbClr val="0971CA"/>
                  </a:solidFill>
                  <a:latin typeface="+mn-ea"/>
                </a:rPr>
                <a:t>》(PMC)</a:t>
              </a:r>
              <a:endParaRPr lang="en-US" altLang="zh-CN" b="1">
                <a:solidFill>
                  <a:srgbClr val="0971CA"/>
                </a:solidFill>
                <a:latin typeface="+mn-ea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12"/>
              </p:custDataLst>
            </p:nvPr>
          </p:nvSpPr>
          <p:spPr>
            <a:xfrm>
              <a:off x="4295943" y="1780470"/>
              <a:ext cx="7167245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>
                  <a:solidFill>
                    <a:schemeClr val="tx1"/>
                  </a:solidFill>
                  <a:latin typeface="+mn-ea"/>
                </a:rPr>
                <a:t>将盐酸西替利嗪滴眼液列为新一代一线局部抗组胺药，优于传统单效抗组胺药</a:t>
              </a:r>
              <a:endParaRPr lang="zh-CN" altLang="en-US" sz="1600" b="1">
                <a:solidFill>
                  <a:schemeClr val="tx1"/>
                </a:solidFill>
                <a:latin typeface="+mn-ea"/>
              </a:endParaRPr>
            </a:p>
          </p:txBody>
        </p:sp>
      </p:grpSp>
      <p:pic>
        <p:nvPicPr>
          <p:cNvPr id="22" name="图片 21" descr="徽标&#10;&#10;描述已自动生成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4"/>
          <a:srcRect l="7679" t="8903" r="11099" b="5582"/>
          <a:stretch>
            <a:fillRect/>
          </a:stretch>
        </p:blipFill>
        <p:spPr>
          <a:xfrm>
            <a:off x="2990850" y="5049163"/>
            <a:ext cx="769088" cy="766431"/>
          </a:xfrm>
          <a:prstGeom prst="ellipse">
            <a:avLst/>
          </a:prstGeom>
          <a:solidFill>
            <a:schemeClr val="bg1"/>
          </a:solidFill>
          <a:ln>
            <a:solidFill>
              <a:srgbClr val="0971CA">
                <a:alpha val="50000"/>
              </a:srgbClr>
            </a:solidFill>
          </a:ln>
        </p:spPr>
      </p:pic>
      <p:pic>
        <p:nvPicPr>
          <p:cNvPr id="31" name="图形 30"/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78635" y="1383562"/>
            <a:ext cx="693819" cy="693819"/>
          </a:xfrm>
          <a:prstGeom prst="rect">
            <a:avLst/>
          </a:prstGeom>
        </p:spPr>
      </p:pic>
      <p:grpSp>
        <p:nvGrpSpPr>
          <p:cNvPr id="63" name="组合 62"/>
          <p:cNvGrpSpPr/>
          <p:nvPr/>
        </p:nvGrpSpPr>
        <p:grpSpPr>
          <a:xfrm>
            <a:off x="1778635" y="3852702"/>
            <a:ext cx="691415" cy="691415"/>
            <a:chOff x="2441380" y="2675130"/>
            <a:chExt cx="1705841" cy="1705841"/>
          </a:xfrm>
        </p:grpSpPr>
        <p:sp>
          <p:nvSpPr>
            <p:cNvPr id="53" name="任意多边形: 形状 52"/>
            <p:cNvSpPr/>
            <p:nvPr/>
          </p:nvSpPr>
          <p:spPr>
            <a:xfrm>
              <a:off x="2450040" y="2683648"/>
              <a:ext cx="1697181" cy="1697323"/>
            </a:xfrm>
            <a:custGeom>
              <a:avLst/>
              <a:gdLst>
                <a:gd name="csX0" fmla="*/ 1697182 w 1697181"/>
                <a:gd name="csY0" fmla="*/ 848733 h 1697323"/>
                <a:gd name="csX1" fmla="*/ 848591 w 1697181"/>
                <a:gd name="csY1" fmla="*/ 1697323 h 1697323"/>
                <a:gd name="csX2" fmla="*/ 0 w 1697181"/>
                <a:gd name="csY2" fmla="*/ 848733 h 1697323"/>
                <a:gd name="csX3" fmla="*/ 848591 w 1697181"/>
                <a:gd name="csY3" fmla="*/ 142 h 1697323"/>
                <a:gd name="csX4" fmla="*/ 1697182 w 1697181"/>
                <a:gd name="csY4" fmla="*/ 848733 h 169732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697181" h="1697323">
                  <a:moveTo>
                    <a:pt x="1697182" y="848733"/>
                  </a:moveTo>
                  <a:cubicBezTo>
                    <a:pt x="1697182" y="1316324"/>
                    <a:pt x="1316182" y="1697323"/>
                    <a:pt x="848591" y="1697323"/>
                  </a:cubicBezTo>
                  <a:cubicBezTo>
                    <a:pt x="381000" y="1697323"/>
                    <a:pt x="0" y="1316324"/>
                    <a:pt x="0" y="848733"/>
                  </a:cubicBezTo>
                  <a:cubicBezTo>
                    <a:pt x="0" y="381142"/>
                    <a:pt x="381000" y="142"/>
                    <a:pt x="848591" y="142"/>
                  </a:cubicBezTo>
                  <a:cubicBezTo>
                    <a:pt x="1316182" y="-8517"/>
                    <a:pt x="1697182" y="381142"/>
                    <a:pt x="1697182" y="848733"/>
                  </a:cubicBezTo>
                </a:path>
              </a:pathLst>
            </a:custGeom>
            <a:solidFill>
              <a:srgbClr val="FAFAFA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2441380" y="2675130"/>
              <a:ext cx="857250" cy="917863"/>
            </a:xfrm>
            <a:custGeom>
              <a:avLst/>
              <a:gdLst>
                <a:gd name="csX0" fmla="*/ 857250 w 857250"/>
                <a:gd name="csY0" fmla="*/ 0 h 917863"/>
                <a:gd name="csX1" fmla="*/ 0 w 857250"/>
                <a:gd name="csY1" fmla="*/ 848591 h 917863"/>
                <a:gd name="csX2" fmla="*/ 0 w 857250"/>
                <a:gd name="csY2" fmla="*/ 917864 h 917863"/>
                <a:gd name="csX3" fmla="*/ 848591 w 857250"/>
                <a:gd name="csY3" fmla="*/ 917864 h 917863"/>
                <a:gd name="csX4" fmla="*/ 848591 w 857250"/>
                <a:gd name="csY4" fmla="*/ 0 h 91786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857250" h="917863">
                  <a:moveTo>
                    <a:pt x="857250" y="0"/>
                  </a:moveTo>
                  <a:cubicBezTo>
                    <a:pt x="381000" y="0"/>
                    <a:pt x="0" y="381000"/>
                    <a:pt x="0" y="848591"/>
                  </a:cubicBezTo>
                  <a:lnTo>
                    <a:pt x="0" y="917864"/>
                  </a:lnTo>
                  <a:lnTo>
                    <a:pt x="848591" y="917864"/>
                  </a:lnTo>
                  <a:lnTo>
                    <a:pt x="848591" y="0"/>
                  </a:lnTo>
                  <a:close/>
                </a:path>
              </a:pathLst>
            </a:custGeom>
            <a:solidFill>
              <a:srgbClr val="233CAF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2450040" y="2727085"/>
              <a:ext cx="770659" cy="839931"/>
            </a:xfrm>
            <a:custGeom>
              <a:avLst/>
              <a:gdLst>
                <a:gd name="csX0" fmla="*/ 606136 w 770659"/>
                <a:gd name="csY0" fmla="*/ 329045 h 839931"/>
                <a:gd name="csX1" fmla="*/ 597477 w 770659"/>
                <a:gd name="csY1" fmla="*/ 363682 h 839931"/>
                <a:gd name="csX2" fmla="*/ 623455 w 770659"/>
                <a:gd name="csY2" fmla="*/ 346364 h 839931"/>
                <a:gd name="csX3" fmla="*/ 649432 w 770659"/>
                <a:gd name="csY3" fmla="*/ 363682 h 839931"/>
                <a:gd name="csX4" fmla="*/ 640773 w 770659"/>
                <a:gd name="csY4" fmla="*/ 329045 h 839931"/>
                <a:gd name="csX5" fmla="*/ 666750 w 770659"/>
                <a:gd name="csY5" fmla="*/ 303068 h 839931"/>
                <a:gd name="csX6" fmla="*/ 632114 w 770659"/>
                <a:gd name="csY6" fmla="*/ 294409 h 839931"/>
                <a:gd name="csX7" fmla="*/ 614795 w 770659"/>
                <a:gd name="csY7" fmla="*/ 268432 h 839931"/>
                <a:gd name="csX8" fmla="*/ 597477 w 770659"/>
                <a:gd name="csY8" fmla="*/ 294409 h 839931"/>
                <a:gd name="csX9" fmla="*/ 562841 w 770659"/>
                <a:gd name="csY9" fmla="*/ 303068 h 839931"/>
                <a:gd name="csX10" fmla="*/ 606136 w 770659"/>
                <a:gd name="csY10" fmla="*/ 329045 h 839931"/>
                <a:gd name="csX11" fmla="*/ 640773 w 770659"/>
                <a:gd name="csY11" fmla="*/ 121227 h 839931"/>
                <a:gd name="csX12" fmla="*/ 623455 w 770659"/>
                <a:gd name="csY12" fmla="*/ 95250 h 839931"/>
                <a:gd name="csX13" fmla="*/ 606136 w 770659"/>
                <a:gd name="csY13" fmla="*/ 121227 h 839931"/>
                <a:gd name="csX14" fmla="*/ 571500 w 770659"/>
                <a:gd name="csY14" fmla="*/ 129886 h 839931"/>
                <a:gd name="csX15" fmla="*/ 597477 w 770659"/>
                <a:gd name="csY15" fmla="*/ 155864 h 839931"/>
                <a:gd name="csX16" fmla="*/ 588818 w 770659"/>
                <a:gd name="csY16" fmla="*/ 190500 h 839931"/>
                <a:gd name="csX17" fmla="*/ 614795 w 770659"/>
                <a:gd name="csY17" fmla="*/ 173182 h 839931"/>
                <a:gd name="csX18" fmla="*/ 640773 w 770659"/>
                <a:gd name="csY18" fmla="*/ 190500 h 839931"/>
                <a:gd name="csX19" fmla="*/ 632114 w 770659"/>
                <a:gd name="csY19" fmla="*/ 155864 h 839931"/>
                <a:gd name="csX20" fmla="*/ 658091 w 770659"/>
                <a:gd name="csY20" fmla="*/ 129886 h 839931"/>
                <a:gd name="csX21" fmla="*/ 640773 w 770659"/>
                <a:gd name="csY21" fmla="*/ 121227 h 839931"/>
                <a:gd name="csX22" fmla="*/ 103909 w 770659"/>
                <a:gd name="csY22" fmla="*/ 770659 h 839931"/>
                <a:gd name="csX23" fmla="*/ 86591 w 770659"/>
                <a:gd name="csY23" fmla="*/ 744682 h 839931"/>
                <a:gd name="csX24" fmla="*/ 69273 w 770659"/>
                <a:gd name="csY24" fmla="*/ 770659 h 839931"/>
                <a:gd name="csX25" fmla="*/ 34636 w 770659"/>
                <a:gd name="csY25" fmla="*/ 779318 h 839931"/>
                <a:gd name="csX26" fmla="*/ 60614 w 770659"/>
                <a:gd name="csY26" fmla="*/ 805295 h 839931"/>
                <a:gd name="csX27" fmla="*/ 51955 w 770659"/>
                <a:gd name="csY27" fmla="*/ 839932 h 839931"/>
                <a:gd name="csX28" fmla="*/ 77932 w 770659"/>
                <a:gd name="csY28" fmla="*/ 822614 h 839931"/>
                <a:gd name="csX29" fmla="*/ 103909 w 770659"/>
                <a:gd name="csY29" fmla="*/ 839932 h 839931"/>
                <a:gd name="csX30" fmla="*/ 95250 w 770659"/>
                <a:gd name="csY30" fmla="*/ 805295 h 839931"/>
                <a:gd name="csX31" fmla="*/ 121227 w 770659"/>
                <a:gd name="csY31" fmla="*/ 779318 h 839931"/>
                <a:gd name="csX32" fmla="*/ 103909 w 770659"/>
                <a:gd name="csY32" fmla="*/ 770659 h 839931"/>
                <a:gd name="csX33" fmla="*/ 8659 w 770659"/>
                <a:gd name="csY33" fmla="*/ 701386 h 839931"/>
                <a:gd name="csX34" fmla="*/ 34636 w 770659"/>
                <a:gd name="csY34" fmla="*/ 675409 h 839931"/>
                <a:gd name="csX35" fmla="*/ 8659 w 770659"/>
                <a:gd name="csY35" fmla="*/ 675409 h 839931"/>
                <a:gd name="csX36" fmla="*/ 0 w 770659"/>
                <a:gd name="csY36" fmla="*/ 727364 h 839931"/>
                <a:gd name="csX37" fmla="*/ 17318 w 770659"/>
                <a:gd name="csY37" fmla="*/ 736023 h 839931"/>
                <a:gd name="csX38" fmla="*/ 8659 w 770659"/>
                <a:gd name="csY38" fmla="*/ 701386 h 839931"/>
                <a:gd name="csX39" fmla="*/ 606136 w 770659"/>
                <a:gd name="csY39" fmla="*/ 519545 h 839931"/>
                <a:gd name="csX40" fmla="*/ 597477 w 770659"/>
                <a:gd name="csY40" fmla="*/ 554182 h 839931"/>
                <a:gd name="csX41" fmla="*/ 623455 w 770659"/>
                <a:gd name="csY41" fmla="*/ 536864 h 839931"/>
                <a:gd name="csX42" fmla="*/ 649432 w 770659"/>
                <a:gd name="csY42" fmla="*/ 554182 h 839931"/>
                <a:gd name="csX43" fmla="*/ 640773 w 770659"/>
                <a:gd name="csY43" fmla="*/ 519545 h 839931"/>
                <a:gd name="csX44" fmla="*/ 666750 w 770659"/>
                <a:gd name="csY44" fmla="*/ 493568 h 839931"/>
                <a:gd name="csX45" fmla="*/ 632114 w 770659"/>
                <a:gd name="csY45" fmla="*/ 484909 h 839931"/>
                <a:gd name="csX46" fmla="*/ 614795 w 770659"/>
                <a:gd name="csY46" fmla="*/ 458932 h 839931"/>
                <a:gd name="csX47" fmla="*/ 597477 w 770659"/>
                <a:gd name="csY47" fmla="*/ 484909 h 839931"/>
                <a:gd name="csX48" fmla="*/ 562841 w 770659"/>
                <a:gd name="csY48" fmla="*/ 493568 h 839931"/>
                <a:gd name="csX49" fmla="*/ 606136 w 770659"/>
                <a:gd name="csY49" fmla="*/ 519545 h 839931"/>
                <a:gd name="csX50" fmla="*/ 112568 w 770659"/>
                <a:gd name="csY50" fmla="*/ 458932 h 839931"/>
                <a:gd name="csX51" fmla="*/ 103909 w 770659"/>
                <a:gd name="csY51" fmla="*/ 424295 h 839931"/>
                <a:gd name="csX52" fmla="*/ 129886 w 770659"/>
                <a:gd name="csY52" fmla="*/ 398318 h 839931"/>
                <a:gd name="csX53" fmla="*/ 95250 w 770659"/>
                <a:gd name="csY53" fmla="*/ 389659 h 839931"/>
                <a:gd name="csX54" fmla="*/ 95250 w 770659"/>
                <a:gd name="csY54" fmla="*/ 381000 h 839931"/>
                <a:gd name="csX55" fmla="*/ 69273 w 770659"/>
                <a:gd name="csY55" fmla="*/ 441614 h 839931"/>
                <a:gd name="csX56" fmla="*/ 86591 w 770659"/>
                <a:gd name="csY56" fmla="*/ 432955 h 839931"/>
                <a:gd name="csX57" fmla="*/ 112568 w 770659"/>
                <a:gd name="csY57" fmla="*/ 458932 h 839931"/>
                <a:gd name="csX58" fmla="*/ 103909 w 770659"/>
                <a:gd name="csY58" fmla="*/ 580159 h 839931"/>
                <a:gd name="csX59" fmla="*/ 86591 w 770659"/>
                <a:gd name="csY59" fmla="*/ 554182 h 839931"/>
                <a:gd name="csX60" fmla="*/ 69273 w 770659"/>
                <a:gd name="csY60" fmla="*/ 580159 h 839931"/>
                <a:gd name="csX61" fmla="*/ 34636 w 770659"/>
                <a:gd name="csY61" fmla="*/ 588818 h 839931"/>
                <a:gd name="csX62" fmla="*/ 60614 w 770659"/>
                <a:gd name="csY62" fmla="*/ 614795 h 839931"/>
                <a:gd name="csX63" fmla="*/ 51955 w 770659"/>
                <a:gd name="csY63" fmla="*/ 649432 h 839931"/>
                <a:gd name="csX64" fmla="*/ 77932 w 770659"/>
                <a:gd name="csY64" fmla="*/ 632114 h 839931"/>
                <a:gd name="csX65" fmla="*/ 103909 w 770659"/>
                <a:gd name="csY65" fmla="*/ 649432 h 839931"/>
                <a:gd name="csX66" fmla="*/ 95250 w 770659"/>
                <a:gd name="csY66" fmla="*/ 614795 h 839931"/>
                <a:gd name="csX67" fmla="*/ 121227 w 770659"/>
                <a:gd name="csY67" fmla="*/ 588818 h 839931"/>
                <a:gd name="csX68" fmla="*/ 103909 w 770659"/>
                <a:gd name="csY68" fmla="*/ 580159 h 839931"/>
                <a:gd name="csX69" fmla="*/ 606136 w 770659"/>
                <a:gd name="csY69" fmla="*/ 701386 h 839931"/>
                <a:gd name="csX70" fmla="*/ 597477 w 770659"/>
                <a:gd name="csY70" fmla="*/ 736023 h 839931"/>
                <a:gd name="csX71" fmla="*/ 623455 w 770659"/>
                <a:gd name="csY71" fmla="*/ 718705 h 839931"/>
                <a:gd name="csX72" fmla="*/ 649432 w 770659"/>
                <a:gd name="csY72" fmla="*/ 736023 h 839931"/>
                <a:gd name="csX73" fmla="*/ 640773 w 770659"/>
                <a:gd name="csY73" fmla="*/ 701386 h 839931"/>
                <a:gd name="csX74" fmla="*/ 666750 w 770659"/>
                <a:gd name="csY74" fmla="*/ 675409 h 839931"/>
                <a:gd name="csX75" fmla="*/ 632114 w 770659"/>
                <a:gd name="csY75" fmla="*/ 666750 h 839931"/>
                <a:gd name="csX76" fmla="*/ 614795 w 770659"/>
                <a:gd name="csY76" fmla="*/ 640773 h 839931"/>
                <a:gd name="csX77" fmla="*/ 597477 w 770659"/>
                <a:gd name="csY77" fmla="*/ 666750 h 839931"/>
                <a:gd name="csX78" fmla="*/ 562841 w 770659"/>
                <a:gd name="csY78" fmla="*/ 675409 h 839931"/>
                <a:gd name="csX79" fmla="*/ 606136 w 770659"/>
                <a:gd name="csY79" fmla="*/ 701386 h 839931"/>
                <a:gd name="csX80" fmla="*/ 727364 w 770659"/>
                <a:gd name="csY80" fmla="*/ 0 h 839931"/>
                <a:gd name="csX81" fmla="*/ 710046 w 770659"/>
                <a:gd name="csY81" fmla="*/ 25977 h 839931"/>
                <a:gd name="csX82" fmla="*/ 675409 w 770659"/>
                <a:gd name="csY82" fmla="*/ 34636 h 839931"/>
                <a:gd name="csX83" fmla="*/ 701386 w 770659"/>
                <a:gd name="csY83" fmla="*/ 60614 h 839931"/>
                <a:gd name="csX84" fmla="*/ 692727 w 770659"/>
                <a:gd name="csY84" fmla="*/ 95250 h 839931"/>
                <a:gd name="csX85" fmla="*/ 718705 w 770659"/>
                <a:gd name="csY85" fmla="*/ 77932 h 839931"/>
                <a:gd name="csX86" fmla="*/ 744682 w 770659"/>
                <a:gd name="csY86" fmla="*/ 95250 h 839931"/>
                <a:gd name="csX87" fmla="*/ 736023 w 770659"/>
                <a:gd name="csY87" fmla="*/ 60614 h 839931"/>
                <a:gd name="csX88" fmla="*/ 762000 w 770659"/>
                <a:gd name="csY88" fmla="*/ 34636 h 839931"/>
                <a:gd name="csX89" fmla="*/ 727364 w 770659"/>
                <a:gd name="csY89" fmla="*/ 25977 h 839931"/>
                <a:gd name="csX90" fmla="*/ 727364 w 770659"/>
                <a:gd name="csY90" fmla="*/ 0 h 839931"/>
                <a:gd name="csX91" fmla="*/ 502227 w 770659"/>
                <a:gd name="csY91" fmla="*/ 25977 h 839931"/>
                <a:gd name="csX92" fmla="*/ 493568 w 770659"/>
                <a:gd name="csY92" fmla="*/ 25977 h 839931"/>
                <a:gd name="csX93" fmla="*/ 476250 w 770659"/>
                <a:gd name="csY93" fmla="*/ 34636 h 839931"/>
                <a:gd name="csX94" fmla="*/ 493568 w 770659"/>
                <a:gd name="csY94" fmla="*/ 51955 h 839931"/>
                <a:gd name="csX95" fmla="*/ 484909 w 770659"/>
                <a:gd name="csY95" fmla="*/ 86591 h 839931"/>
                <a:gd name="csX96" fmla="*/ 510886 w 770659"/>
                <a:gd name="csY96" fmla="*/ 69273 h 839931"/>
                <a:gd name="csX97" fmla="*/ 536864 w 770659"/>
                <a:gd name="csY97" fmla="*/ 86591 h 839931"/>
                <a:gd name="csX98" fmla="*/ 528205 w 770659"/>
                <a:gd name="csY98" fmla="*/ 51955 h 839931"/>
                <a:gd name="csX99" fmla="*/ 554182 w 770659"/>
                <a:gd name="csY99" fmla="*/ 25977 h 839931"/>
                <a:gd name="csX100" fmla="*/ 519545 w 770659"/>
                <a:gd name="csY100" fmla="*/ 17318 h 839931"/>
                <a:gd name="csX101" fmla="*/ 510886 w 770659"/>
                <a:gd name="csY101" fmla="*/ 0 h 839931"/>
                <a:gd name="csX102" fmla="*/ 502227 w 770659"/>
                <a:gd name="csY102" fmla="*/ 25977 h 839931"/>
                <a:gd name="csX103" fmla="*/ 710046 w 770659"/>
                <a:gd name="csY103" fmla="*/ 796636 h 839931"/>
                <a:gd name="csX104" fmla="*/ 701386 w 770659"/>
                <a:gd name="csY104" fmla="*/ 831273 h 839931"/>
                <a:gd name="csX105" fmla="*/ 727364 w 770659"/>
                <a:gd name="csY105" fmla="*/ 813955 h 839931"/>
                <a:gd name="csX106" fmla="*/ 753341 w 770659"/>
                <a:gd name="csY106" fmla="*/ 831273 h 839931"/>
                <a:gd name="csX107" fmla="*/ 744682 w 770659"/>
                <a:gd name="csY107" fmla="*/ 796636 h 839931"/>
                <a:gd name="csX108" fmla="*/ 770659 w 770659"/>
                <a:gd name="csY108" fmla="*/ 770659 h 839931"/>
                <a:gd name="csX109" fmla="*/ 736023 w 770659"/>
                <a:gd name="csY109" fmla="*/ 762000 h 839931"/>
                <a:gd name="csX110" fmla="*/ 718705 w 770659"/>
                <a:gd name="csY110" fmla="*/ 736023 h 839931"/>
                <a:gd name="csX111" fmla="*/ 701386 w 770659"/>
                <a:gd name="csY111" fmla="*/ 762000 h 839931"/>
                <a:gd name="csX112" fmla="*/ 666750 w 770659"/>
                <a:gd name="csY112" fmla="*/ 770659 h 839931"/>
                <a:gd name="csX113" fmla="*/ 710046 w 770659"/>
                <a:gd name="csY113" fmla="*/ 796636 h 839931"/>
                <a:gd name="csX114" fmla="*/ 710046 w 770659"/>
                <a:gd name="csY114" fmla="*/ 606136 h 839931"/>
                <a:gd name="csX115" fmla="*/ 701386 w 770659"/>
                <a:gd name="csY115" fmla="*/ 640773 h 839931"/>
                <a:gd name="csX116" fmla="*/ 727364 w 770659"/>
                <a:gd name="csY116" fmla="*/ 623455 h 839931"/>
                <a:gd name="csX117" fmla="*/ 753341 w 770659"/>
                <a:gd name="csY117" fmla="*/ 640773 h 839931"/>
                <a:gd name="csX118" fmla="*/ 744682 w 770659"/>
                <a:gd name="csY118" fmla="*/ 606136 h 839931"/>
                <a:gd name="csX119" fmla="*/ 770659 w 770659"/>
                <a:gd name="csY119" fmla="*/ 580159 h 839931"/>
                <a:gd name="csX120" fmla="*/ 736023 w 770659"/>
                <a:gd name="csY120" fmla="*/ 571500 h 839931"/>
                <a:gd name="csX121" fmla="*/ 718705 w 770659"/>
                <a:gd name="csY121" fmla="*/ 545523 h 839931"/>
                <a:gd name="csX122" fmla="*/ 701386 w 770659"/>
                <a:gd name="csY122" fmla="*/ 571500 h 839931"/>
                <a:gd name="csX123" fmla="*/ 666750 w 770659"/>
                <a:gd name="csY123" fmla="*/ 580159 h 839931"/>
                <a:gd name="csX124" fmla="*/ 710046 w 770659"/>
                <a:gd name="csY124" fmla="*/ 606136 h 839931"/>
                <a:gd name="csX125" fmla="*/ 744682 w 770659"/>
                <a:gd name="csY125" fmla="*/ 216477 h 839931"/>
                <a:gd name="csX126" fmla="*/ 727364 w 770659"/>
                <a:gd name="csY126" fmla="*/ 190500 h 839931"/>
                <a:gd name="csX127" fmla="*/ 710046 w 770659"/>
                <a:gd name="csY127" fmla="*/ 216477 h 839931"/>
                <a:gd name="csX128" fmla="*/ 675409 w 770659"/>
                <a:gd name="csY128" fmla="*/ 225136 h 839931"/>
                <a:gd name="csX129" fmla="*/ 701386 w 770659"/>
                <a:gd name="csY129" fmla="*/ 251114 h 839931"/>
                <a:gd name="csX130" fmla="*/ 692727 w 770659"/>
                <a:gd name="csY130" fmla="*/ 285750 h 839931"/>
                <a:gd name="csX131" fmla="*/ 718705 w 770659"/>
                <a:gd name="csY131" fmla="*/ 268432 h 839931"/>
                <a:gd name="csX132" fmla="*/ 744682 w 770659"/>
                <a:gd name="csY132" fmla="*/ 285750 h 839931"/>
                <a:gd name="csX133" fmla="*/ 736023 w 770659"/>
                <a:gd name="csY133" fmla="*/ 251114 h 839931"/>
                <a:gd name="csX134" fmla="*/ 762000 w 770659"/>
                <a:gd name="csY134" fmla="*/ 225136 h 839931"/>
                <a:gd name="csX135" fmla="*/ 744682 w 770659"/>
                <a:gd name="csY135" fmla="*/ 216477 h 839931"/>
                <a:gd name="csX136" fmla="*/ 710046 w 770659"/>
                <a:gd name="csY136" fmla="*/ 424295 h 839931"/>
                <a:gd name="csX137" fmla="*/ 701386 w 770659"/>
                <a:gd name="csY137" fmla="*/ 458932 h 839931"/>
                <a:gd name="csX138" fmla="*/ 727364 w 770659"/>
                <a:gd name="csY138" fmla="*/ 441614 h 839931"/>
                <a:gd name="csX139" fmla="*/ 753341 w 770659"/>
                <a:gd name="csY139" fmla="*/ 458932 h 839931"/>
                <a:gd name="csX140" fmla="*/ 744682 w 770659"/>
                <a:gd name="csY140" fmla="*/ 424295 h 839931"/>
                <a:gd name="csX141" fmla="*/ 770659 w 770659"/>
                <a:gd name="csY141" fmla="*/ 398318 h 839931"/>
                <a:gd name="csX142" fmla="*/ 736023 w 770659"/>
                <a:gd name="csY142" fmla="*/ 389659 h 839931"/>
                <a:gd name="csX143" fmla="*/ 718705 w 770659"/>
                <a:gd name="csY143" fmla="*/ 363682 h 839931"/>
                <a:gd name="csX144" fmla="*/ 701386 w 770659"/>
                <a:gd name="csY144" fmla="*/ 389659 h 839931"/>
                <a:gd name="csX145" fmla="*/ 666750 w 770659"/>
                <a:gd name="csY145" fmla="*/ 398318 h 839931"/>
                <a:gd name="csX146" fmla="*/ 710046 w 770659"/>
                <a:gd name="csY146" fmla="*/ 424295 h 839931"/>
                <a:gd name="csX147" fmla="*/ 207818 w 770659"/>
                <a:gd name="csY147" fmla="*/ 303068 h 839931"/>
                <a:gd name="csX148" fmla="*/ 190500 w 770659"/>
                <a:gd name="csY148" fmla="*/ 277091 h 839931"/>
                <a:gd name="csX149" fmla="*/ 173182 w 770659"/>
                <a:gd name="csY149" fmla="*/ 303068 h 839931"/>
                <a:gd name="csX150" fmla="*/ 138545 w 770659"/>
                <a:gd name="csY150" fmla="*/ 311727 h 839931"/>
                <a:gd name="csX151" fmla="*/ 164523 w 770659"/>
                <a:gd name="csY151" fmla="*/ 337705 h 839931"/>
                <a:gd name="csX152" fmla="*/ 155864 w 770659"/>
                <a:gd name="csY152" fmla="*/ 372341 h 839931"/>
                <a:gd name="csX153" fmla="*/ 181841 w 770659"/>
                <a:gd name="csY153" fmla="*/ 355023 h 839931"/>
                <a:gd name="csX154" fmla="*/ 207818 w 770659"/>
                <a:gd name="csY154" fmla="*/ 372341 h 839931"/>
                <a:gd name="csX155" fmla="*/ 199159 w 770659"/>
                <a:gd name="csY155" fmla="*/ 337705 h 839931"/>
                <a:gd name="csX156" fmla="*/ 225136 w 770659"/>
                <a:gd name="csY156" fmla="*/ 311727 h 839931"/>
                <a:gd name="csX157" fmla="*/ 207818 w 770659"/>
                <a:gd name="csY157" fmla="*/ 303068 h 839931"/>
                <a:gd name="csX158" fmla="*/ 424295 w 770659"/>
                <a:gd name="csY158" fmla="*/ 675409 h 839931"/>
                <a:gd name="csX159" fmla="*/ 406977 w 770659"/>
                <a:gd name="csY159" fmla="*/ 649432 h 839931"/>
                <a:gd name="csX160" fmla="*/ 389659 w 770659"/>
                <a:gd name="csY160" fmla="*/ 675409 h 839931"/>
                <a:gd name="csX161" fmla="*/ 355023 w 770659"/>
                <a:gd name="csY161" fmla="*/ 684068 h 839931"/>
                <a:gd name="csX162" fmla="*/ 381000 w 770659"/>
                <a:gd name="csY162" fmla="*/ 710045 h 839931"/>
                <a:gd name="csX163" fmla="*/ 372341 w 770659"/>
                <a:gd name="csY163" fmla="*/ 744682 h 839931"/>
                <a:gd name="csX164" fmla="*/ 398318 w 770659"/>
                <a:gd name="csY164" fmla="*/ 727364 h 839931"/>
                <a:gd name="csX165" fmla="*/ 424295 w 770659"/>
                <a:gd name="csY165" fmla="*/ 744682 h 839931"/>
                <a:gd name="csX166" fmla="*/ 415636 w 770659"/>
                <a:gd name="csY166" fmla="*/ 710045 h 839931"/>
                <a:gd name="csX167" fmla="*/ 441614 w 770659"/>
                <a:gd name="csY167" fmla="*/ 684068 h 839931"/>
                <a:gd name="csX168" fmla="*/ 424295 w 770659"/>
                <a:gd name="csY168" fmla="*/ 675409 h 839931"/>
                <a:gd name="csX169" fmla="*/ 424295 w 770659"/>
                <a:gd name="csY169" fmla="*/ 493568 h 839931"/>
                <a:gd name="csX170" fmla="*/ 406977 w 770659"/>
                <a:gd name="csY170" fmla="*/ 467591 h 839931"/>
                <a:gd name="csX171" fmla="*/ 389659 w 770659"/>
                <a:gd name="csY171" fmla="*/ 493568 h 839931"/>
                <a:gd name="csX172" fmla="*/ 355023 w 770659"/>
                <a:gd name="csY172" fmla="*/ 502227 h 839931"/>
                <a:gd name="csX173" fmla="*/ 381000 w 770659"/>
                <a:gd name="csY173" fmla="*/ 528205 h 839931"/>
                <a:gd name="csX174" fmla="*/ 372341 w 770659"/>
                <a:gd name="csY174" fmla="*/ 562841 h 839931"/>
                <a:gd name="csX175" fmla="*/ 398318 w 770659"/>
                <a:gd name="csY175" fmla="*/ 545523 h 839931"/>
                <a:gd name="csX176" fmla="*/ 424295 w 770659"/>
                <a:gd name="csY176" fmla="*/ 562841 h 839931"/>
                <a:gd name="csX177" fmla="*/ 415636 w 770659"/>
                <a:gd name="csY177" fmla="*/ 528205 h 839931"/>
                <a:gd name="csX178" fmla="*/ 441614 w 770659"/>
                <a:gd name="csY178" fmla="*/ 502227 h 839931"/>
                <a:gd name="csX179" fmla="*/ 424295 w 770659"/>
                <a:gd name="csY179" fmla="*/ 493568 h 839931"/>
                <a:gd name="csX180" fmla="*/ 528205 w 770659"/>
                <a:gd name="csY180" fmla="*/ 398318 h 839931"/>
                <a:gd name="csX181" fmla="*/ 510886 w 770659"/>
                <a:gd name="csY181" fmla="*/ 372341 h 839931"/>
                <a:gd name="csX182" fmla="*/ 493568 w 770659"/>
                <a:gd name="csY182" fmla="*/ 398318 h 839931"/>
                <a:gd name="csX183" fmla="*/ 458932 w 770659"/>
                <a:gd name="csY183" fmla="*/ 406977 h 839931"/>
                <a:gd name="csX184" fmla="*/ 484909 w 770659"/>
                <a:gd name="csY184" fmla="*/ 432955 h 839931"/>
                <a:gd name="csX185" fmla="*/ 476250 w 770659"/>
                <a:gd name="csY185" fmla="*/ 467591 h 839931"/>
                <a:gd name="csX186" fmla="*/ 502227 w 770659"/>
                <a:gd name="csY186" fmla="*/ 450273 h 839931"/>
                <a:gd name="csX187" fmla="*/ 528205 w 770659"/>
                <a:gd name="csY187" fmla="*/ 467591 h 839931"/>
                <a:gd name="csX188" fmla="*/ 519545 w 770659"/>
                <a:gd name="csY188" fmla="*/ 432955 h 839931"/>
                <a:gd name="csX189" fmla="*/ 545523 w 770659"/>
                <a:gd name="csY189" fmla="*/ 406977 h 839931"/>
                <a:gd name="csX190" fmla="*/ 528205 w 770659"/>
                <a:gd name="csY190" fmla="*/ 398318 h 839931"/>
                <a:gd name="csX191" fmla="*/ 207818 w 770659"/>
                <a:gd name="csY191" fmla="*/ 675409 h 839931"/>
                <a:gd name="csX192" fmla="*/ 190500 w 770659"/>
                <a:gd name="csY192" fmla="*/ 649432 h 839931"/>
                <a:gd name="csX193" fmla="*/ 173182 w 770659"/>
                <a:gd name="csY193" fmla="*/ 675409 h 839931"/>
                <a:gd name="csX194" fmla="*/ 138545 w 770659"/>
                <a:gd name="csY194" fmla="*/ 684068 h 839931"/>
                <a:gd name="csX195" fmla="*/ 164523 w 770659"/>
                <a:gd name="csY195" fmla="*/ 710045 h 839931"/>
                <a:gd name="csX196" fmla="*/ 155864 w 770659"/>
                <a:gd name="csY196" fmla="*/ 744682 h 839931"/>
                <a:gd name="csX197" fmla="*/ 181841 w 770659"/>
                <a:gd name="csY197" fmla="*/ 727364 h 839931"/>
                <a:gd name="csX198" fmla="*/ 207818 w 770659"/>
                <a:gd name="csY198" fmla="*/ 744682 h 839931"/>
                <a:gd name="csX199" fmla="*/ 199159 w 770659"/>
                <a:gd name="csY199" fmla="*/ 710045 h 839931"/>
                <a:gd name="csX200" fmla="*/ 225136 w 770659"/>
                <a:gd name="csY200" fmla="*/ 684068 h 839931"/>
                <a:gd name="csX201" fmla="*/ 207818 w 770659"/>
                <a:gd name="csY201" fmla="*/ 675409 h 839931"/>
                <a:gd name="csX202" fmla="*/ 528205 w 770659"/>
                <a:gd name="csY202" fmla="*/ 580159 h 839931"/>
                <a:gd name="csX203" fmla="*/ 510886 w 770659"/>
                <a:gd name="csY203" fmla="*/ 554182 h 839931"/>
                <a:gd name="csX204" fmla="*/ 493568 w 770659"/>
                <a:gd name="csY204" fmla="*/ 580159 h 839931"/>
                <a:gd name="csX205" fmla="*/ 458932 w 770659"/>
                <a:gd name="csY205" fmla="*/ 588818 h 839931"/>
                <a:gd name="csX206" fmla="*/ 484909 w 770659"/>
                <a:gd name="csY206" fmla="*/ 614795 h 839931"/>
                <a:gd name="csX207" fmla="*/ 476250 w 770659"/>
                <a:gd name="csY207" fmla="*/ 649432 h 839931"/>
                <a:gd name="csX208" fmla="*/ 502227 w 770659"/>
                <a:gd name="csY208" fmla="*/ 632114 h 839931"/>
                <a:gd name="csX209" fmla="*/ 528205 w 770659"/>
                <a:gd name="csY209" fmla="*/ 649432 h 839931"/>
                <a:gd name="csX210" fmla="*/ 519545 w 770659"/>
                <a:gd name="csY210" fmla="*/ 614795 h 839931"/>
                <a:gd name="csX211" fmla="*/ 545523 w 770659"/>
                <a:gd name="csY211" fmla="*/ 588818 h 839931"/>
                <a:gd name="csX212" fmla="*/ 528205 w 770659"/>
                <a:gd name="csY212" fmla="*/ 580159 h 839931"/>
                <a:gd name="csX213" fmla="*/ 528205 w 770659"/>
                <a:gd name="csY213" fmla="*/ 770659 h 839931"/>
                <a:gd name="csX214" fmla="*/ 510886 w 770659"/>
                <a:gd name="csY214" fmla="*/ 744682 h 839931"/>
                <a:gd name="csX215" fmla="*/ 493568 w 770659"/>
                <a:gd name="csY215" fmla="*/ 770659 h 839931"/>
                <a:gd name="csX216" fmla="*/ 458932 w 770659"/>
                <a:gd name="csY216" fmla="*/ 779318 h 839931"/>
                <a:gd name="csX217" fmla="*/ 484909 w 770659"/>
                <a:gd name="csY217" fmla="*/ 805295 h 839931"/>
                <a:gd name="csX218" fmla="*/ 476250 w 770659"/>
                <a:gd name="csY218" fmla="*/ 839932 h 839931"/>
                <a:gd name="csX219" fmla="*/ 502227 w 770659"/>
                <a:gd name="csY219" fmla="*/ 822614 h 839931"/>
                <a:gd name="csX220" fmla="*/ 528205 w 770659"/>
                <a:gd name="csY220" fmla="*/ 839932 h 839931"/>
                <a:gd name="csX221" fmla="*/ 519545 w 770659"/>
                <a:gd name="csY221" fmla="*/ 805295 h 839931"/>
                <a:gd name="csX222" fmla="*/ 545523 w 770659"/>
                <a:gd name="csY222" fmla="*/ 779318 h 839931"/>
                <a:gd name="csX223" fmla="*/ 528205 w 770659"/>
                <a:gd name="csY223" fmla="*/ 770659 h 839931"/>
                <a:gd name="csX224" fmla="*/ 528205 w 770659"/>
                <a:gd name="csY224" fmla="*/ 216477 h 839931"/>
                <a:gd name="csX225" fmla="*/ 510886 w 770659"/>
                <a:gd name="csY225" fmla="*/ 190500 h 839931"/>
                <a:gd name="csX226" fmla="*/ 493568 w 770659"/>
                <a:gd name="csY226" fmla="*/ 216477 h 839931"/>
                <a:gd name="csX227" fmla="*/ 458932 w 770659"/>
                <a:gd name="csY227" fmla="*/ 225136 h 839931"/>
                <a:gd name="csX228" fmla="*/ 484909 w 770659"/>
                <a:gd name="csY228" fmla="*/ 251114 h 839931"/>
                <a:gd name="csX229" fmla="*/ 476250 w 770659"/>
                <a:gd name="csY229" fmla="*/ 285750 h 839931"/>
                <a:gd name="csX230" fmla="*/ 502227 w 770659"/>
                <a:gd name="csY230" fmla="*/ 268432 h 839931"/>
                <a:gd name="csX231" fmla="*/ 528205 w 770659"/>
                <a:gd name="csY231" fmla="*/ 285750 h 839931"/>
                <a:gd name="csX232" fmla="*/ 519545 w 770659"/>
                <a:gd name="csY232" fmla="*/ 251114 h 839931"/>
                <a:gd name="csX233" fmla="*/ 545523 w 770659"/>
                <a:gd name="csY233" fmla="*/ 225136 h 839931"/>
                <a:gd name="csX234" fmla="*/ 528205 w 770659"/>
                <a:gd name="csY234" fmla="*/ 216477 h 839931"/>
                <a:gd name="csX235" fmla="*/ 311727 w 770659"/>
                <a:gd name="csY235" fmla="*/ 216477 h 839931"/>
                <a:gd name="csX236" fmla="*/ 294409 w 770659"/>
                <a:gd name="csY236" fmla="*/ 190500 h 839931"/>
                <a:gd name="csX237" fmla="*/ 277091 w 770659"/>
                <a:gd name="csY237" fmla="*/ 216477 h 839931"/>
                <a:gd name="csX238" fmla="*/ 242455 w 770659"/>
                <a:gd name="csY238" fmla="*/ 225136 h 839931"/>
                <a:gd name="csX239" fmla="*/ 268432 w 770659"/>
                <a:gd name="csY239" fmla="*/ 251114 h 839931"/>
                <a:gd name="csX240" fmla="*/ 259773 w 770659"/>
                <a:gd name="csY240" fmla="*/ 285750 h 839931"/>
                <a:gd name="csX241" fmla="*/ 285750 w 770659"/>
                <a:gd name="csY241" fmla="*/ 268432 h 839931"/>
                <a:gd name="csX242" fmla="*/ 311727 w 770659"/>
                <a:gd name="csY242" fmla="*/ 285750 h 839931"/>
                <a:gd name="csX243" fmla="*/ 303068 w 770659"/>
                <a:gd name="csY243" fmla="*/ 251114 h 839931"/>
                <a:gd name="csX244" fmla="*/ 329045 w 770659"/>
                <a:gd name="csY244" fmla="*/ 225136 h 839931"/>
                <a:gd name="csX245" fmla="*/ 311727 w 770659"/>
                <a:gd name="csY245" fmla="*/ 216477 h 839931"/>
                <a:gd name="csX246" fmla="*/ 207818 w 770659"/>
                <a:gd name="csY246" fmla="*/ 493568 h 839931"/>
                <a:gd name="csX247" fmla="*/ 190500 w 770659"/>
                <a:gd name="csY247" fmla="*/ 467591 h 839931"/>
                <a:gd name="csX248" fmla="*/ 173182 w 770659"/>
                <a:gd name="csY248" fmla="*/ 493568 h 839931"/>
                <a:gd name="csX249" fmla="*/ 138545 w 770659"/>
                <a:gd name="csY249" fmla="*/ 502227 h 839931"/>
                <a:gd name="csX250" fmla="*/ 164523 w 770659"/>
                <a:gd name="csY250" fmla="*/ 528205 h 839931"/>
                <a:gd name="csX251" fmla="*/ 155864 w 770659"/>
                <a:gd name="csY251" fmla="*/ 562841 h 839931"/>
                <a:gd name="csX252" fmla="*/ 181841 w 770659"/>
                <a:gd name="csY252" fmla="*/ 545523 h 839931"/>
                <a:gd name="csX253" fmla="*/ 207818 w 770659"/>
                <a:gd name="csY253" fmla="*/ 562841 h 839931"/>
                <a:gd name="csX254" fmla="*/ 199159 w 770659"/>
                <a:gd name="csY254" fmla="*/ 528205 h 839931"/>
                <a:gd name="csX255" fmla="*/ 225136 w 770659"/>
                <a:gd name="csY255" fmla="*/ 502227 h 839931"/>
                <a:gd name="csX256" fmla="*/ 207818 w 770659"/>
                <a:gd name="csY256" fmla="*/ 493568 h 839931"/>
                <a:gd name="csX257" fmla="*/ 311727 w 770659"/>
                <a:gd name="csY257" fmla="*/ 398318 h 839931"/>
                <a:gd name="csX258" fmla="*/ 294409 w 770659"/>
                <a:gd name="csY258" fmla="*/ 372341 h 839931"/>
                <a:gd name="csX259" fmla="*/ 277091 w 770659"/>
                <a:gd name="csY259" fmla="*/ 398318 h 839931"/>
                <a:gd name="csX260" fmla="*/ 242455 w 770659"/>
                <a:gd name="csY260" fmla="*/ 406977 h 839931"/>
                <a:gd name="csX261" fmla="*/ 268432 w 770659"/>
                <a:gd name="csY261" fmla="*/ 432955 h 839931"/>
                <a:gd name="csX262" fmla="*/ 259773 w 770659"/>
                <a:gd name="csY262" fmla="*/ 467591 h 839931"/>
                <a:gd name="csX263" fmla="*/ 285750 w 770659"/>
                <a:gd name="csY263" fmla="*/ 450273 h 839931"/>
                <a:gd name="csX264" fmla="*/ 311727 w 770659"/>
                <a:gd name="csY264" fmla="*/ 467591 h 839931"/>
                <a:gd name="csX265" fmla="*/ 303068 w 770659"/>
                <a:gd name="csY265" fmla="*/ 432955 h 839931"/>
                <a:gd name="csX266" fmla="*/ 329045 w 770659"/>
                <a:gd name="csY266" fmla="*/ 406977 h 839931"/>
                <a:gd name="csX267" fmla="*/ 311727 w 770659"/>
                <a:gd name="csY267" fmla="*/ 398318 h 839931"/>
                <a:gd name="csX268" fmla="*/ 311727 w 770659"/>
                <a:gd name="csY268" fmla="*/ 580159 h 839931"/>
                <a:gd name="csX269" fmla="*/ 294409 w 770659"/>
                <a:gd name="csY269" fmla="*/ 554182 h 839931"/>
                <a:gd name="csX270" fmla="*/ 277091 w 770659"/>
                <a:gd name="csY270" fmla="*/ 580159 h 839931"/>
                <a:gd name="csX271" fmla="*/ 242455 w 770659"/>
                <a:gd name="csY271" fmla="*/ 588818 h 839931"/>
                <a:gd name="csX272" fmla="*/ 268432 w 770659"/>
                <a:gd name="csY272" fmla="*/ 614795 h 839931"/>
                <a:gd name="csX273" fmla="*/ 259773 w 770659"/>
                <a:gd name="csY273" fmla="*/ 649432 h 839931"/>
                <a:gd name="csX274" fmla="*/ 285750 w 770659"/>
                <a:gd name="csY274" fmla="*/ 632114 h 839931"/>
                <a:gd name="csX275" fmla="*/ 311727 w 770659"/>
                <a:gd name="csY275" fmla="*/ 649432 h 839931"/>
                <a:gd name="csX276" fmla="*/ 303068 w 770659"/>
                <a:gd name="csY276" fmla="*/ 614795 h 839931"/>
                <a:gd name="csX277" fmla="*/ 329045 w 770659"/>
                <a:gd name="csY277" fmla="*/ 588818 h 839931"/>
                <a:gd name="csX278" fmla="*/ 311727 w 770659"/>
                <a:gd name="csY278" fmla="*/ 580159 h 839931"/>
                <a:gd name="csX279" fmla="*/ 424295 w 770659"/>
                <a:gd name="csY279" fmla="*/ 121227 h 839931"/>
                <a:gd name="csX280" fmla="*/ 406977 w 770659"/>
                <a:gd name="csY280" fmla="*/ 95250 h 839931"/>
                <a:gd name="csX281" fmla="*/ 389659 w 770659"/>
                <a:gd name="csY281" fmla="*/ 121227 h 839931"/>
                <a:gd name="csX282" fmla="*/ 355023 w 770659"/>
                <a:gd name="csY282" fmla="*/ 129886 h 839931"/>
                <a:gd name="csX283" fmla="*/ 381000 w 770659"/>
                <a:gd name="csY283" fmla="*/ 155864 h 839931"/>
                <a:gd name="csX284" fmla="*/ 372341 w 770659"/>
                <a:gd name="csY284" fmla="*/ 190500 h 839931"/>
                <a:gd name="csX285" fmla="*/ 398318 w 770659"/>
                <a:gd name="csY285" fmla="*/ 173182 h 839931"/>
                <a:gd name="csX286" fmla="*/ 424295 w 770659"/>
                <a:gd name="csY286" fmla="*/ 190500 h 839931"/>
                <a:gd name="csX287" fmla="*/ 415636 w 770659"/>
                <a:gd name="csY287" fmla="*/ 155864 h 839931"/>
                <a:gd name="csX288" fmla="*/ 441614 w 770659"/>
                <a:gd name="csY288" fmla="*/ 129886 h 839931"/>
                <a:gd name="csX289" fmla="*/ 424295 w 770659"/>
                <a:gd name="csY289" fmla="*/ 121227 h 839931"/>
                <a:gd name="csX290" fmla="*/ 424295 w 770659"/>
                <a:gd name="csY290" fmla="*/ 303068 h 839931"/>
                <a:gd name="csX291" fmla="*/ 406977 w 770659"/>
                <a:gd name="csY291" fmla="*/ 277091 h 839931"/>
                <a:gd name="csX292" fmla="*/ 389659 w 770659"/>
                <a:gd name="csY292" fmla="*/ 303068 h 839931"/>
                <a:gd name="csX293" fmla="*/ 355023 w 770659"/>
                <a:gd name="csY293" fmla="*/ 311727 h 839931"/>
                <a:gd name="csX294" fmla="*/ 381000 w 770659"/>
                <a:gd name="csY294" fmla="*/ 337705 h 839931"/>
                <a:gd name="csX295" fmla="*/ 372341 w 770659"/>
                <a:gd name="csY295" fmla="*/ 372341 h 839931"/>
                <a:gd name="csX296" fmla="*/ 398318 w 770659"/>
                <a:gd name="csY296" fmla="*/ 355023 h 839931"/>
                <a:gd name="csX297" fmla="*/ 424295 w 770659"/>
                <a:gd name="csY297" fmla="*/ 372341 h 839931"/>
                <a:gd name="csX298" fmla="*/ 415636 w 770659"/>
                <a:gd name="csY298" fmla="*/ 337705 h 839931"/>
                <a:gd name="csX299" fmla="*/ 441614 w 770659"/>
                <a:gd name="csY299" fmla="*/ 311727 h 839931"/>
                <a:gd name="csX300" fmla="*/ 424295 w 770659"/>
                <a:gd name="csY300" fmla="*/ 303068 h 839931"/>
                <a:gd name="csX301" fmla="*/ 346364 w 770659"/>
                <a:gd name="csY301" fmla="*/ 770659 h 839931"/>
                <a:gd name="csX302" fmla="*/ 320386 w 770659"/>
                <a:gd name="csY302" fmla="*/ 796636 h 839931"/>
                <a:gd name="csX303" fmla="*/ 329045 w 770659"/>
                <a:gd name="csY303" fmla="*/ 831273 h 839931"/>
                <a:gd name="csX304" fmla="*/ 303068 w 770659"/>
                <a:gd name="csY304" fmla="*/ 813955 h 839931"/>
                <a:gd name="csX305" fmla="*/ 277091 w 770659"/>
                <a:gd name="csY305" fmla="*/ 831273 h 839931"/>
                <a:gd name="csX306" fmla="*/ 285750 w 770659"/>
                <a:gd name="csY306" fmla="*/ 796636 h 839931"/>
                <a:gd name="csX307" fmla="*/ 259773 w 770659"/>
                <a:gd name="csY307" fmla="*/ 770659 h 839931"/>
                <a:gd name="csX308" fmla="*/ 294409 w 770659"/>
                <a:gd name="csY308" fmla="*/ 762000 h 839931"/>
                <a:gd name="csX309" fmla="*/ 311727 w 770659"/>
                <a:gd name="csY309" fmla="*/ 736023 h 839931"/>
                <a:gd name="csX310" fmla="*/ 329045 w 770659"/>
                <a:gd name="csY310" fmla="*/ 762000 h 839931"/>
                <a:gd name="csX311" fmla="*/ 346364 w 770659"/>
                <a:gd name="csY311" fmla="*/ 770659 h 83993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</a:cxnLst>
              <a:rect l="l" t="t" r="r" b="b"/>
              <a:pathLst>
                <a:path w="770659" h="839931">
                  <a:moveTo>
                    <a:pt x="606136" y="329045"/>
                  </a:moveTo>
                  <a:lnTo>
                    <a:pt x="597477" y="363682"/>
                  </a:lnTo>
                  <a:lnTo>
                    <a:pt x="623455" y="346364"/>
                  </a:lnTo>
                  <a:lnTo>
                    <a:pt x="649432" y="363682"/>
                  </a:lnTo>
                  <a:lnTo>
                    <a:pt x="640773" y="329045"/>
                  </a:lnTo>
                  <a:lnTo>
                    <a:pt x="666750" y="303068"/>
                  </a:lnTo>
                  <a:lnTo>
                    <a:pt x="632114" y="294409"/>
                  </a:lnTo>
                  <a:lnTo>
                    <a:pt x="614795" y="268432"/>
                  </a:lnTo>
                  <a:lnTo>
                    <a:pt x="597477" y="294409"/>
                  </a:lnTo>
                  <a:lnTo>
                    <a:pt x="562841" y="303068"/>
                  </a:lnTo>
                  <a:lnTo>
                    <a:pt x="606136" y="329045"/>
                  </a:lnTo>
                  <a:close/>
                  <a:moveTo>
                    <a:pt x="640773" y="121227"/>
                  </a:moveTo>
                  <a:lnTo>
                    <a:pt x="623455" y="95250"/>
                  </a:lnTo>
                  <a:lnTo>
                    <a:pt x="606136" y="121227"/>
                  </a:lnTo>
                  <a:lnTo>
                    <a:pt x="571500" y="129886"/>
                  </a:lnTo>
                  <a:lnTo>
                    <a:pt x="597477" y="155864"/>
                  </a:lnTo>
                  <a:lnTo>
                    <a:pt x="588818" y="190500"/>
                  </a:lnTo>
                  <a:lnTo>
                    <a:pt x="614795" y="173182"/>
                  </a:lnTo>
                  <a:lnTo>
                    <a:pt x="640773" y="190500"/>
                  </a:lnTo>
                  <a:lnTo>
                    <a:pt x="632114" y="155864"/>
                  </a:lnTo>
                  <a:lnTo>
                    <a:pt x="658091" y="129886"/>
                  </a:lnTo>
                  <a:lnTo>
                    <a:pt x="640773" y="121227"/>
                  </a:lnTo>
                  <a:close/>
                  <a:moveTo>
                    <a:pt x="103909" y="770659"/>
                  </a:moveTo>
                  <a:lnTo>
                    <a:pt x="86591" y="744682"/>
                  </a:lnTo>
                  <a:lnTo>
                    <a:pt x="69273" y="770659"/>
                  </a:lnTo>
                  <a:lnTo>
                    <a:pt x="34636" y="779318"/>
                  </a:lnTo>
                  <a:lnTo>
                    <a:pt x="60614" y="805295"/>
                  </a:lnTo>
                  <a:lnTo>
                    <a:pt x="51955" y="839932"/>
                  </a:lnTo>
                  <a:lnTo>
                    <a:pt x="77932" y="822614"/>
                  </a:lnTo>
                  <a:lnTo>
                    <a:pt x="103909" y="839932"/>
                  </a:lnTo>
                  <a:lnTo>
                    <a:pt x="95250" y="805295"/>
                  </a:lnTo>
                  <a:lnTo>
                    <a:pt x="121227" y="779318"/>
                  </a:lnTo>
                  <a:lnTo>
                    <a:pt x="103909" y="770659"/>
                  </a:lnTo>
                  <a:close/>
                  <a:moveTo>
                    <a:pt x="8659" y="701386"/>
                  </a:moveTo>
                  <a:lnTo>
                    <a:pt x="34636" y="675409"/>
                  </a:lnTo>
                  <a:lnTo>
                    <a:pt x="8659" y="675409"/>
                  </a:lnTo>
                  <a:cubicBezTo>
                    <a:pt x="8659" y="692727"/>
                    <a:pt x="0" y="710045"/>
                    <a:pt x="0" y="727364"/>
                  </a:cubicBezTo>
                  <a:lnTo>
                    <a:pt x="17318" y="736023"/>
                  </a:lnTo>
                  <a:lnTo>
                    <a:pt x="8659" y="701386"/>
                  </a:lnTo>
                  <a:close/>
                  <a:moveTo>
                    <a:pt x="606136" y="519545"/>
                  </a:moveTo>
                  <a:lnTo>
                    <a:pt x="597477" y="554182"/>
                  </a:lnTo>
                  <a:lnTo>
                    <a:pt x="623455" y="536864"/>
                  </a:lnTo>
                  <a:lnTo>
                    <a:pt x="649432" y="554182"/>
                  </a:lnTo>
                  <a:lnTo>
                    <a:pt x="640773" y="519545"/>
                  </a:lnTo>
                  <a:lnTo>
                    <a:pt x="666750" y="493568"/>
                  </a:lnTo>
                  <a:lnTo>
                    <a:pt x="632114" y="484909"/>
                  </a:lnTo>
                  <a:lnTo>
                    <a:pt x="614795" y="458932"/>
                  </a:lnTo>
                  <a:lnTo>
                    <a:pt x="597477" y="484909"/>
                  </a:lnTo>
                  <a:lnTo>
                    <a:pt x="562841" y="493568"/>
                  </a:lnTo>
                  <a:lnTo>
                    <a:pt x="606136" y="519545"/>
                  </a:lnTo>
                  <a:close/>
                  <a:moveTo>
                    <a:pt x="112568" y="458932"/>
                  </a:moveTo>
                  <a:lnTo>
                    <a:pt x="103909" y="424295"/>
                  </a:lnTo>
                  <a:lnTo>
                    <a:pt x="129886" y="398318"/>
                  </a:lnTo>
                  <a:lnTo>
                    <a:pt x="95250" y="389659"/>
                  </a:lnTo>
                  <a:lnTo>
                    <a:pt x="95250" y="381000"/>
                  </a:lnTo>
                  <a:cubicBezTo>
                    <a:pt x="86591" y="398318"/>
                    <a:pt x="77932" y="415636"/>
                    <a:pt x="69273" y="441614"/>
                  </a:cubicBezTo>
                  <a:lnTo>
                    <a:pt x="86591" y="432955"/>
                  </a:lnTo>
                  <a:lnTo>
                    <a:pt x="112568" y="458932"/>
                  </a:lnTo>
                  <a:close/>
                  <a:moveTo>
                    <a:pt x="103909" y="580159"/>
                  </a:moveTo>
                  <a:lnTo>
                    <a:pt x="86591" y="554182"/>
                  </a:lnTo>
                  <a:lnTo>
                    <a:pt x="69273" y="580159"/>
                  </a:lnTo>
                  <a:lnTo>
                    <a:pt x="34636" y="588818"/>
                  </a:lnTo>
                  <a:lnTo>
                    <a:pt x="60614" y="614795"/>
                  </a:lnTo>
                  <a:lnTo>
                    <a:pt x="51955" y="649432"/>
                  </a:lnTo>
                  <a:lnTo>
                    <a:pt x="77932" y="632114"/>
                  </a:lnTo>
                  <a:lnTo>
                    <a:pt x="103909" y="649432"/>
                  </a:lnTo>
                  <a:lnTo>
                    <a:pt x="95250" y="614795"/>
                  </a:lnTo>
                  <a:lnTo>
                    <a:pt x="121227" y="588818"/>
                  </a:lnTo>
                  <a:lnTo>
                    <a:pt x="103909" y="580159"/>
                  </a:lnTo>
                  <a:close/>
                  <a:moveTo>
                    <a:pt x="606136" y="701386"/>
                  </a:moveTo>
                  <a:lnTo>
                    <a:pt x="597477" y="736023"/>
                  </a:lnTo>
                  <a:lnTo>
                    <a:pt x="623455" y="718705"/>
                  </a:lnTo>
                  <a:lnTo>
                    <a:pt x="649432" y="736023"/>
                  </a:lnTo>
                  <a:lnTo>
                    <a:pt x="640773" y="701386"/>
                  </a:lnTo>
                  <a:lnTo>
                    <a:pt x="666750" y="675409"/>
                  </a:lnTo>
                  <a:lnTo>
                    <a:pt x="632114" y="666750"/>
                  </a:lnTo>
                  <a:lnTo>
                    <a:pt x="614795" y="640773"/>
                  </a:lnTo>
                  <a:lnTo>
                    <a:pt x="597477" y="666750"/>
                  </a:lnTo>
                  <a:lnTo>
                    <a:pt x="562841" y="675409"/>
                  </a:lnTo>
                  <a:lnTo>
                    <a:pt x="606136" y="701386"/>
                  </a:lnTo>
                  <a:close/>
                  <a:moveTo>
                    <a:pt x="727364" y="0"/>
                  </a:moveTo>
                  <a:lnTo>
                    <a:pt x="710046" y="25977"/>
                  </a:lnTo>
                  <a:lnTo>
                    <a:pt x="675409" y="34636"/>
                  </a:lnTo>
                  <a:lnTo>
                    <a:pt x="701386" y="60614"/>
                  </a:lnTo>
                  <a:lnTo>
                    <a:pt x="692727" y="95250"/>
                  </a:lnTo>
                  <a:lnTo>
                    <a:pt x="718705" y="77932"/>
                  </a:lnTo>
                  <a:lnTo>
                    <a:pt x="744682" y="95250"/>
                  </a:lnTo>
                  <a:lnTo>
                    <a:pt x="736023" y="60614"/>
                  </a:lnTo>
                  <a:lnTo>
                    <a:pt x="762000" y="34636"/>
                  </a:lnTo>
                  <a:lnTo>
                    <a:pt x="727364" y="25977"/>
                  </a:lnTo>
                  <a:lnTo>
                    <a:pt x="727364" y="0"/>
                  </a:lnTo>
                  <a:close/>
                  <a:moveTo>
                    <a:pt x="502227" y="25977"/>
                  </a:moveTo>
                  <a:lnTo>
                    <a:pt x="493568" y="25977"/>
                  </a:lnTo>
                  <a:cubicBezTo>
                    <a:pt x="484909" y="25977"/>
                    <a:pt x="484909" y="25977"/>
                    <a:pt x="476250" y="34636"/>
                  </a:cubicBezTo>
                  <a:lnTo>
                    <a:pt x="493568" y="51955"/>
                  </a:lnTo>
                  <a:lnTo>
                    <a:pt x="484909" y="86591"/>
                  </a:lnTo>
                  <a:lnTo>
                    <a:pt x="510886" y="69273"/>
                  </a:lnTo>
                  <a:lnTo>
                    <a:pt x="536864" y="86591"/>
                  </a:lnTo>
                  <a:lnTo>
                    <a:pt x="528205" y="51955"/>
                  </a:lnTo>
                  <a:lnTo>
                    <a:pt x="554182" y="25977"/>
                  </a:lnTo>
                  <a:lnTo>
                    <a:pt x="519545" y="17318"/>
                  </a:lnTo>
                  <a:lnTo>
                    <a:pt x="510886" y="0"/>
                  </a:lnTo>
                  <a:cubicBezTo>
                    <a:pt x="519545" y="17318"/>
                    <a:pt x="510886" y="17318"/>
                    <a:pt x="502227" y="25977"/>
                  </a:cubicBezTo>
                  <a:close/>
                  <a:moveTo>
                    <a:pt x="710046" y="796636"/>
                  </a:moveTo>
                  <a:lnTo>
                    <a:pt x="701386" y="831273"/>
                  </a:lnTo>
                  <a:lnTo>
                    <a:pt x="727364" y="813955"/>
                  </a:lnTo>
                  <a:lnTo>
                    <a:pt x="753341" y="831273"/>
                  </a:lnTo>
                  <a:lnTo>
                    <a:pt x="744682" y="796636"/>
                  </a:lnTo>
                  <a:lnTo>
                    <a:pt x="770659" y="770659"/>
                  </a:lnTo>
                  <a:lnTo>
                    <a:pt x="736023" y="762000"/>
                  </a:lnTo>
                  <a:lnTo>
                    <a:pt x="718705" y="736023"/>
                  </a:lnTo>
                  <a:lnTo>
                    <a:pt x="701386" y="762000"/>
                  </a:lnTo>
                  <a:lnTo>
                    <a:pt x="666750" y="770659"/>
                  </a:lnTo>
                  <a:lnTo>
                    <a:pt x="710046" y="796636"/>
                  </a:lnTo>
                  <a:close/>
                  <a:moveTo>
                    <a:pt x="710046" y="606136"/>
                  </a:moveTo>
                  <a:lnTo>
                    <a:pt x="701386" y="640773"/>
                  </a:lnTo>
                  <a:lnTo>
                    <a:pt x="727364" y="623455"/>
                  </a:lnTo>
                  <a:lnTo>
                    <a:pt x="753341" y="640773"/>
                  </a:lnTo>
                  <a:lnTo>
                    <a:pt x="744682" y="606136"/>
                  </a:lnTo>
                  <a:lnTo>
                    <a:pt x="770659" y="580159"/>
                  </a:lnTo>
                  <a:lnTo>
                    <a:pt x="736023" y="571500"/>
                  </a:lnTo>
                  <a:lnTo>
                    <a:pt x="718705" y="545523"/>
                  </a:lnTo>
                  <a:lnTo>
                    <a:pt x="701386" y="571500"/>
                  </a:lnTo>
                  <a:lnTo>
                    <a:pt x="666750" y="580159"/>
                  </a:lnTo>
                  <a:lnTo>
                    <a:pt x="710046" y="606136"/>
                  </a:lnTo>
                  <a:close/>
                  <a:moveTo>
                    <a:pt x="744682" y="216477"/>
                  </a:moveTo>
                  <a:lnTo>
                    <a:pt x="727364" y="190500"/>
                  </a:lnTo>
                  <a:lnTo>
                    <a:pt x="710046" y="216477"/>
                  </a:lnTo>
                  <a:lnTo>
                    <a:pt x="675409" y="225136"/>
                  </a:lnTo>
                  <a:lnTo>
                    <a:pt x="701386" y="251114"/>
                  </a:lnTo>
                  <a:lnTo>
                    <a:pt x="692727" y="285750"/>
                  </a:lnTo>
                  <a:lnTo>
                    <a:pt x="718705" y="268432"/>
                  </a:lnTo>
                  <a:lnTo>
                    <a:pt x="744682" y="285750"/>
                  </a:lnTo>
                  <a:lnTo>
                    <a:pt x="736023" y="251114"/>
                  </a:lnTo>
                  <a:lnTo>
                    <a:pt x="762000" y="225136"/>
                  </a:lnTo>
                  <a:lnTo>
                    <a:pt x="744682" y="216477"/>
                  </a:lnTo>
                  <a:close/>
                  <a:moveTo>
                    <a:pt x="710046" y="424295"/>
                  </a:moveTo>
                  <a:lnTo>
                    <a:pt x="701386" y="458932"/>
                  </a:lnTo>
                  <a:lnTo>
                    <a:pt x="727364" y="441614"/>
                  </a:lnTo>
                  <a:lnTo>
                    <a:pt x="753341" y="458932"/>
                  </a:lnTo>
                  <a:lnTo>
                    <a:pt x="744682" y="424295"/>
                  </a:lnTo>
                  <a:lnTo>
                    <a:pt x="770659" y="398318"/>
                  </a:lnTo>
                  <a:lnTo>
                    <a:pt x="736023" y="389659"/>
                  </a:lnTo>
                  <a:lnTo>
                    <a:pt x="718705" y="363682"/>
                  </a:lnTo>
                  <a:lnTo>
                    <a:pt x="701386" y="389659"/>
                  </a:lnTo>
                  <a:lnTo>
                    <a:pt x="666750" y="398318"/>
                  </a:lnTo>
                  <a:lnTo>
                    <a:pt x="710046" y="424295"/>
                  </a:lnTo>
                  <a:close/>
                  <a:moveTo>
                    <a:pt x="207818" y="303068"/>
                  </a:moveTo>
                  <a:lnTo>
                    <a:pt x="190500" y="277091"/>
                  </a:lnTo>
                  <a:lnTo>
                    <a:pt x="173182" y="303068"/>
                  </a:lnTo>
                  <a:lnTo>
                    <a:pt x="138545" y="311727"/>
                  </a:lnTo>
                  <a:lnTo>
                    <a:pt x="164523" y="337705"/>
                  </a:lnTo>
                  <a:lnTo>
                    <a:pt x="155864" y="372341"/>
                  </a:lnTo>
                  <a:lnTo>
                    <a:pt x="181841" y="355023"/>
                  </a:lnTo>
                  <a:lnTo>
                    <a:pt x="207818" y="372341"/>
                  </a:lnTo>
                  <a:lnTo>
                    <a:pt x="199159" y="337705"/>
                  </a:lnTo>
                  <a:lnTo>
                    <a:pt x="225136" y="311727"/>
                  </a:lnTo>
                  <a:lnTo>
                    <a:pt x="207818" y="303068"/>
                  </a:lnTo>
                  <a:close/>
                  <a:moveTo>
                    <a:pt x="424295" y="675409"/>
                  </a:moveTo>
                  <a:lnTo>
                    <a:pt x="406977" y="649432"/>
                  </a:lnTo>
                  <a:lnTo>
                    <a:pt x="389659" y="675409"/>
                  </a:lnTo>
                  <a:lnTo>
                    <a:pt x="355023" y="684068"/>
                  </a:lnTo>
                  <a:lnTo>
                    <a:pt x="381000" y="710045"/>
                  </a:lnTo>
                  <a:lnTo>
                    <a:pt x="372341" y="744682"/>
                  </a:lnTo>
                  <a:lnTo>
                    <a:pt x="398318" y="727364"/>
                  </a:lnTo>
                  <a:lnTo>
                    <a:pt x="424295" y="744682"/>
                  </a:lnTo>
                  <a:lnTo>
                    <a:pt x="415636" y="710045"/>
                  </a:lnTo>
                  <a:lnTo>
                    <a:pt x="441614" y="684068"/>
                  </a:lnTo>
                  <a:lnTo>
                    <a:pt x="424295" y="675409"/>
                  </a:lnTo>
                  <a:close/>
                  <a:moveTo>
                    <a:pt x="424295" y="493568"/>
                  </a:moveTo>
                  <a:lnTo>
                    <a:pt x="406977" y="467591"/>
                  </a:lnTo>
                  <a:lnTo>
                    <a:pt x="389659" y="493568"/>
                  </a:lnTo>
                  <a:lnTo>
                    <a:pt x="355023" y="502227"/>
                  </a:lnTo>
                  <a:lnTo>
                    <a:pt x="381000" y="528205"/>
                  </a:lnTo>
                  <a:lnTo>
                    <a:pt x="372341" y="562841"/>
                  </a:lnTo>
                  <a:lnTo>
                    <a:pt x="398318" y="545523"/>
                  </a:lnTo>
                  <a:lnTo>
                    <a:pt x="424295" y="562841"/>
                  </a:lnTo>
                  <a:lnTo>
                    <a:pt x="415636" y="528205"/>
                  </a:lnTo>
                  <a:lnTo>
                    <a:pt x="441614" y="502227"/>
                  </a:lnTo>
                  <a:lnTo>
                    <a:pt x="424295" y="493568"/>
                  </a:lnTo>
                  <a:close/>
                  <a:moveTo>
                    <a:pt x="528205" y="398318"/>
                  </a:moveTo>
                  <a:lnTo>
                    <a:pt x="510886" y="372341"/>
                  </a:lnTo>
                  <a:lnTo>
                    <a:pt x="493568" y="398318"/>
                  </a:lnTo>
                  <a:lnTo>
                    <a:pt x="458932" y="406977"/>
                  </a:lnTo>
                  <a:lnTo>
                    <a:pt x="484909" y="432955"/>
                  </a:lnTo>
                  <a:lnTo>
                    <a:pt x="476250" y="467591"/>
                  </a:lnTo>
                  <a:lnTo>
                    <a:pt x="502227" y="450273"/>
                  </a:lnTo>
                  <a:lnTo>
                    <a:pt x="528205" y="467591"/>
                  </a:lnTo>
                  <a:lnTo>
                    <a:pt x="519545" y="432955"/>
                  </a:lnTo>
                  <a:lnTo>
                    <a:pt x="545523" y="406977"/>
                  </a:lnTo>
                  <a:lnTo>
                    <a:pt x="528205" y="398318"/>
                  </a:lnTo>
                  <a:close/>
                  <a:moveTo>
                    <a:pt x="207818" y="675409"/>
                  </a:moveTo>
                  <a:lnTo>
                    <a:pt x="190500" y="649432"/>
                  </a:lnTo>
                  <a:lnTo>
                    <a:pt x="173182" y="675409"/>
                  </a:lnTo>
                  <a:lnTo>
                    <a:pt x="138545" y="684068"/>
                  </a:lnTo>
                  <a:lnTo>
                    <a:pt x="164523" y="710045"/>
                  </a:lnTo>
                  <a:lnTo>
                    <a:pt x="155864" y="744682"/>
                  </a:lnTo>
                  <a:lnTo>
                    <a:pt x="181841" y="727364"/>
                  </a:lnTo>
                  <a:lnTo>
                    <a:pt x="207818" y="744682"/>
                  </a:lnTo>
                  <a:lnTo>
                    <a:pt x="199159" y="710045"/>
                  </a:lnTo>
                  <a:lnTo>
                    <a:pt x="225136" y="684068"/>
                  </a:lnTo>
                  <a:lnTo>
                    <a:pt x="207818" y="675409"/>
                  </a:lnTo>
                  <a:close/>
                  <a:moveTo>
                    <a:pt x="528205" y="580159"/>
                  </a:moveTo>
                  <a:lnTo>
                    <a:pt x="510886" y="554182"/>
                  </a:lnTo>
                  <a:lnTo>
                    <a:pt x="493568" y="580159"/>
                  </a:lnTo>
                  <a:lnTo>
                    <a:pt x="458932" y="588818"/>
                  </a:lnTo>
                  <a:lnTo>
                    <a:pt x="484909" y="614795"/>
                  </a:lnTo>
                  <a:lnTo>
                    <a:pt x="476250" y="649432"/>
                  </a:lnTo>
                  <a:lnTo>
                    <a:pt x="502227" y="632114"/>
                  </a:lnTo>
                  <a:lnTo>
                    <a:pt x="528205" y="649432"/>
                  </a:lnTo>
                  <a:lnTo>
                    <a:pt x="519545" y="614795"/>
                  </a:lnTo>
                  <a:lnTo>
                    <a:pt x="545523" y="588818"/>
                  </a:lnTo>
                  <a:lnTo>
                    <a:pt x="528205" y="580159"/>
                  </a:lnTo>
                  <a:close/>
                  <a:moveTo>
                    <a:pt x="528205" y="770659"/>
                  </a:moveTo>
                  <a:lnTo>
                    <a:pt x="510886" y="744682"/>
                  </a:lnTo>
                  <a:lnTo>
                    <a:pt x="493568" y="770659"/>
                  </a:lnTo>
                  <a:lnTo>
                    <a:pt x="458932" y="779318"/>
                  </a:lnTo>
                  <a:lnTo>
                    <a:pt x="484909" y="805295"/>
                  </a:lnTo>
                  <a:lnTo>
                    <a:pt x="476250" y="839932"/>
                  </a:lnTo>
                  <a:lnTo>
                    <a:pt x="502227" y="822614"/>
                  </a:lnTo>
                  <a:lnTo>
                    <a:pt x="528205" y="839932"/>
                  </a:lnTo>
                  <a:lnTo>
                    <a:pt x="519545" y="805295"/>
                  </a:lnTo>
                  <a:lnTo>
                    <a:pt x="545523" y="779318"/>
                  </a:lnTo>
                  <a:lnTo>
                    <a:pt x="528205" y="770659"/>
                  </a:lnTo>
                  <a:close/>
                  <a:moveTo>
                    <a:pt x="528205" y="216477"/>
                  </a:moveTo>
                  <a:lnTo>
                    <a:pt x="510886" y="190500"/>
                  </a:lnTo>
                  <a:lnTo>
                    <a:pt x="493568" y="216477"/>
                  </a:lnTo>
                  <a:lnTo>
                    <a:pt x="458932" y="225136"/>
                  </a:lnTo>
                  <a:lnTo>
                    <a:pt x="484909" y="251114"/>
                  </a:lnTo>
                  <a:lnTo>
                    <a:pt x="476250" y="285750"/>
                  </a:lnTo>
                  <a:lnTo>
                    <a:pt x="502227" y="268432"/>
                  </a:lnTo>
                  <a:lnTo>
                    <a:pt x="528205" y="285750"/>
                  </a:lnTo>
                  <a:lnTo>
                    <a:pt x="519545" y="251114"/>
                  </a:lnTo>
                  <a:lnTo>
                    <a:pt x="545523" y="225136"/>
                  </a:lnTo>
                  <a:lnTo>
                    <a:pt x="528205" y="216477"/>
                  </a:lnTo>
                  <a:close/>
                  <a:moveTo>
                    <a:pt x="311727" y="216477"/>
                  </a:moveTo>
                  <a:lnTo>
                    <a:pt x="294409" y="190500"/>
                  </a:lnTo>
                  <a:lnTo>
                    <a:pt x="277091" y="216477"/>
                  </a:lnTo>
                  <a:lnTo>
                    <a:pt x="242455" y="225136"/>
                  </a:lnTo>
                  <a:lnTo>
                    <a:pt x="268432" y="251114"/>
                  </a:lnTo>
                  <a:lnTo>
                    <a:pt x="259773" y="285750"/>
                  </a:lnTo>
                  <a:lnTo>
                    <a:pt x="285750" y="268432"/>
                  </a:lnTo>
                  <a:lnTo>
                    <a:pt x="311727" y="285750"/>
                  </a:lnTo>
                  <a:lnTo>
                    <a:pt x="303068" y="251114"/>
                  </a:lnTo>
                  <a:lnTo>
                    <a:pt x="329045" y="225136"/>
                  </a:lnTo>
                  <a:lnTo>
                    <a:pt x="311727" y="216477"/>
                  </a:lnTo>
                  <a:close/>
                  <a:moveTo>
                    <a:pt x="207818" y="493568"/>
                  </a:moveTo>
                  <a:lnTo>
                    <a:pt x="190500" y="467591"/>
                  </a:lnTo>
                  <a:lnTo>
                    <a:pt x="173182" y="493568"/>
                  </a:lnTo>
                  <a:lnTo>
                    <a:pt x="138545" y="502227"/>
                  </a:lnTo>
                  <a:lnTo>
                    <a:pt x="164523" y="528205"/>
                  </a:lnTo>
                  <a:lnTo>
                    <a:pt x="155864" y="562841"/>
                  </a:lnTo>
                  <a:lnTo>
                    <a:pt x="181841" y="545523"/>
                  </a:lnTo>
                  <a:lnTo>
                    <a:pt x="207818" y="562841"/>
                  </a:lnTo>
                  <a:lnTo>
                    <a:pt x="199159" y="528205"/>
                  </a:lnTo>
                  <a:lnTo>
                    <a:pt x="225136" y="502227"/>
                  </a:lnTo>
                  <a:lnTo>
                    <a:pt x="207818" y="493568"/>
                  </a:lnTo>
                  <a:close/>
                  <a:moveTo>
                    <a:pt x="311727" y="398318"/>
                  </a:moveTo>
                  <a:lnTo>
                    <a:pt x="294409" y="372341"/>
                  </a:lnTo>
                  <a:lnTo>
                    <a:pt x="277091" y="398318"/>
                  </a:lnTo>
                  <a:lnTo>
                    <a:pt x="242455" y="406977"/>
                  </a:lnTo>
                  <a:lnTo>
                    <a:pt x="268432" y="432955"/>
                  </a:lnTo>
                  <a:lnTo>
                    <a:pt x="259773" y="467591"/>
                  </a:lnTo>
                  <a:lnTo>
                    <a:pt x="285750" y="450273"/>
                  </a:lnTo>
                  <a:lnTo>
                    <a:pt x="311727" y="467591"/>
                  </a:lnTo>
                  <a:lnTo>
                    <a:pt x="303068" y="432955"/>
                  </a:lnTo>
                  <a:lnTo>
                    <a:pt x="329045" y="406977"/>
                  </a:lnTo>
                  <a:lnTo>
                    <a:pt x="311727" y="398318"/>
                  </a:lnTo>
                  <a:close/>
                  <a:moveTo>
                    <a:pt x="311727" y="580159"/>
                  </a:moveTo>
                  <a:lnTo>
                    <a:pt x="294409" y="554182"/>
                  </a:lnTo>
                  <a:lnTo>
                    <a:pt x="277091" y="580159"/>
                  </a:lnTo>
                  <a:lnTo>
                    <a:pt x="242455" y="588818"/>
                  </a:lnTo>
                  <a:lnTo>
                    <a:pt x="268432" y="614795"/>
                  </a:lnTo>
                  <a:lnTo>
                    <a:pt x="259773" y="649432"/>
                  </a:lnTo>
                  <a:lnTo>
                    <a:pt x="285750" y="632114"/>
                  </a:lnTo>
                  <a:lnTo>
                    <a:pt x="311727" y="649432"/>
                  </a:lnTo>
                  <a:lnTo>
                    <a:pt x="303068" y="614795"/>
                  </a:lnTo>
                  <a:lnTo>
                    <a:pt x="329045" y="588818"/>
                  </a:lnTo>
                  <a:lnTo>
                    <a:pt x="311727" y="580159"/>
                  </a:lnTo>
                  <a:close/>
                  <a:moveTo>
                    <a:pt x="424295" y="121227"/>
                  </a:moveTo>
                  <a:lnTo>
                    <a:pt x="406977" y="95250"/>
                  </a:lnTo>
                  <a:lnTo>
                    <a:pt x="389659" y="121227"/>
                  </a:lnTo>
                  <a:lnTo>
                    <a:pt x="355023" y="129886"/>
                  </a:lnTo>
                  <a:lnTo>
                    <a:pt x="381000" y="155864"/>
                  </a:lnTo>
                  <a:lnTo>
                    <a:pt x="372341" y="190500"/>
                  </a:lnTo>
                  <a:lnTo>
                    <a:pt x="398318" y="173182"/>
                  </a:lnTo>
                  <a:lnTo>
                    <a:pt x="424295" y="190500"/>
                  </a:lnTo>
                  <a:lnTo>
                    <a:pt x="415636" y="155864"/>
                  </a:lnTo>
                  <a:lnTo>
                    <a:pt x="441614" y="129886"/>
                  </a:lnTo>
                  <a:lnTo>
                    <a:pt x="424295" y="121227"/>
                  </a:lnTo>
                  <a:close/>
                  <a:moveTo>
                    <a:pt x="424295" y="303068"/>
                  </a:moveTo>
                  <a:lnTo>
                    <a:pt x="406977" y="277091"/>
                  </a:lnTo>
                  <a:lnTo>
                    <a:pt x="389659" y="303068"/>
                  </a:lnTo>
                  <a:lnTo>
                    <a:pt x="355023" y="311727"/>
                  </a:lnTo>
                  <a:lnTo>
                    <a:pt x="381000" y="337705"/>
                  </a:lnTo>
                  <a:lnTo>
                    <a:pt x="372341" y="372341"/>
                  </a:lnTo>
                  <a:lnTo>
                    <a:pt x="398318" y="355023"/>
                  </a:lnTo>
                  <a:lnTo>
                    <a:pt x="424295" y="372341"/>
                  </a:lnTo>
                  <a:lnTo>
                    <a:pt x="415636" y="337705"/>
                  </a:lnTo>
                  <a:lnTo>
                    <a:pt x="441614" y="311727"/>
                  </a:lnTo>
                  <a:lnTo>
                    <a:pt x="424295" y="303068"/>
                  </a:lnTo>
                  <a:close/>
                  <a:moveTo>
                    <a:pt x="346364" y="770659"/>
                  </a:moveTo>
                  <a:lnTo>
                    <a:pt x="320386" y="796636"/>
                  </a:lnTo>
                  <a:lnTo>
                    <a:pt x="329045" y="831273"/>
                  </a:lnTo>
                  <a:lnTo>
                    <a:pt x="303068" y="813955"/>
                  </a:lnTo>
                  <a:lnTo>
                    <a:pt x="277091" y="831273"/>
                  </a:lnTo>
                  <a:lnTo>
                    <a:pt x="285750" y="796636"/>
                  </a:lnTo>
                  <a:lnTo>
                    <a:pt x="259773" y="770659"/>
                  </a:lnTo>
                  <a:lnTo>
                    <a:pt x="294409" y="762000"/>
                  </a:lnTo>
                  <a:lnTo>
                    <a:pt x="311727" y="736023"/>
                  </a:lnTo>
                  <a:lnTo>
                    <a:pt x="329045" y="762000"/>
                  </a:lnTo>
                  <a:lnTo>
                    <a:pt x="346364" y="770659"/>
                  </a:lnTo>
                  <a:close/>
                </a:path>
              </a:pathLst>
            </a:custGeom>
            <a:solidFill>
              <a:srgbClr val="FAFAFA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2467358" y="2675130"/>
              <a:ext cx="1677698" cy="1705840"/>
            </a:xfrm>
            <a:custGeom>
              <a:avLst/>
              <a:gdLst>
                <a:gd name="csX0" fmla="*/ 216477 w 1677698"/>
                <a:gd name="csY0" fmla="*/ 1446068 h 1705840"/>
                <a:gd name="csX1" fmla="*/ 1446068 w 1677698"/>
                <a:gd name="csY1" fmla="*/ 1446068 h 1705840"/>
                <a:gd name="csX2" fmla="*/ 1549977 w 1677698"/>
                <a:gd name="csY2" fmla="*/ 1307523 h 1705840"/>
                <a:gd name="csX3" fmla="*/ 112568 w 1677698"/>
                <a:gd name="csY3" fmla="*/ 1307523 h 1705840"/>
                <a:gd name="csX4" fmla="*/ 216477 w 1677698"/>
                <a:gd name="csY4" fmla="*/ 1446068 h 1705840"/>
                <a:gd name="csX5" fmla="*/ 822614 w 1677698"/>
                <a:gd name="csY5" fmla="*/ 1705841 h 1705840"/>
                <a:gd name="csX6" fmla="*/ 1281546 w 1677698"/>
                <a:gd name="csY6" fmla="*/ 1567296 h 1705840"/>
                <a:gd name="csX7" fmla="*/ 363682 w 1677698"/>
                <a:gd name="csY7" fmla="*/ 1567296 h 1705840"/>
                <a:gd name="csX8" fmla="*/ 822614 w 1677698"/>
                <a:gd name="csY8" fmla="*/ 1705841 h 1705840"/>
                <a:gd name="csX9" fmla="*/ 1671205 w 1677698"/>
                <a:gd name="csY9" fmla="*/ 787977 h 1705840"/>
                <a:gd name="csX10" fmla="*/ 822614 w 1677698"/>
                <a:gd name="csY10" fmla="*/ 787977 h 1705840"/>
                <a:gd name="csX11" fmla="*/ 822614 w 1677698"/>
                <a:gd name="csY11" fmla="*/ 926523 h 1705840"/>
                <a:gd name="csX12" fmla="*/ 1671205 w 1677698"/>
                <a:gd name="csY12" fmla="*/ 926523 h 1705840"/>
                <a:gd name="csX13" fmla="*/ 1671205 w 1677698"/>
                <a:gd name="csY13" fmla="*/ 857250 h 1705840"/>
                <a:gd name="csX14" fmla="*/ 1671205 w 1677698"/>
                <a:gd name="csY14" fmla="*/ 787977 h 1705840"/>
                <a:gd name="csX15" fmla="*/ 43295 w 1677698"/>
                <a:gd name="csY15" fmla="*/ 1186295 h 1705840"/>
                <a:gd name="csX16" fmla="*/ 1619250 w 1677698"/>
                <a:gd name="csY16" fmla="*/ 1186295 h 1705840"/>
                <a:gd name="csX17" fmla="*/ 1662546 w 1677698"/>
                <a:gd name="csY17" fmla="*/ 1047750 h 1705840"/>
                <a:gd name="csX18" fmla="*/ 0 w 1677698"/>
                <a:gd name="csY18" fmla="*/ 1047750 h 1705840"/>
                <a:gd name="csX19" fmla="*/ 43295 w 1677698"/>
                <a:gd name="csY19" fmla="*/ 1186295 h 1705840"/>
                <a:gd name="csX20" fmla="*/ 831273 w 1677698"/>
                <a:gd name="csY20" fmla="*/ 398318 h 1705840"/>
                <a:gd name="csX21" fmla="*/ 1549977 w 1677698"/>
                <a:gd name="csY21" fmla="*/ 398318 h 1705840"/>
                <a:gd name="csX22" fmla="*/ 1446068 w 1677698"/>
                <a:gd name="csY22" fmla="*/ 259773 h 1705840"/>
                <a:gd name="csX23" fmla="*/ 831273 w 1677698"/>
                <a:gd name="csY23" fmla="*/ 259773 h 1705840"/>
                <a:gd name="csX24" fmla="*/ 831273 w 1677698"/>
                <a:gd name="csY24" fmla="*/ 398318 h 1705840"/>
                <a:gd name="csX25" fmla="*/ 831273 w 1677698"/>
                <a:gd name="csY25" fmla="*/ 658091 h 1705840"/>
                <a:gd name="csX26" fmla="*/ 1662546 w 1677698"/>
                <a:gd name="csY26" fmla="*/ 658091 h 1705840"/>
                <a:gd name="csX27" fmla="*/ 1619250 w 1677698"/>
                <a:gd name="csY27" fmla="*/ 519545 h 1705840"/>
                <a:gd name="csX28" fmla="*/ 831273 w 1677698"/>
                <a:gd name="csY28" fmla="*/ 519545 h 1705840"/>
                <a:gd name="csX29" fmla="*/ 831273 w 1677698"/>
                <a:gd name="csY29" fmla="*/ 658091 h 1705840"/>
                <a:gd name="csX30" fmla="*/ 831273 w 1677698"/>
                <a:gd name="csY30" fmla="*/ 138545 h 1705840"/>
                <a:gd name="csX31" fmla="*/ 1290205 w 1677698"/>
                <a:gd name="csY31" fmla="*/ 138545 h 1705840"/>
                <a:gd name="csX32" fmla="*/ 831273 w 1677698"/>
                <a:gd name="csY32" fmla="*/ 0 h 1705840"/>
                <a:gd name="csX33" fmla="*/ 831273 w 1677698"/>
                <a:gd name="csY33" fmla="*/ 138545 h 17058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</a:cxnLst>
              <a:rect l="l" t="t" r="r" b="b"/>
              <a:pathLst>
                <a:path w="1677698" h="1705840">
                  <a:moveTo>
                    <a:pt x="216477" y="1446068"/>
                  </a:moveTo>
                  <a:lnTo>
                    <a:pt x="1446068" y="1446068"/>
                  </a:lnTo>
                  <a:cubicBezTo>
                    <a:pt x="1489364" y="1402773"/>
                    <a:pt x="1524000" y="1359477"/>
                    <a:pt x="1549977" y="1307523"/>
                  </a:cubicBezTo>
                  <a:lnTo>
                    <a:pt x="112568" y="1307523"/>
                  </a:lnTo>
                  <a:cubicBezTo>
                    <a:pt x="138545" y="1359477"/>
                    <a:pt x="173182" y="1402773"/>
                    <a:pt x="216477" y="1446068"/>
                  </a:cubicBezTo>
                  <a:close/>
                  <a:moveTo>
                    <a:pt x="822614" y="1705841"/>
                  </a:moveTo>
                  <a:cubicBezTo>
                    <a:pt x="995795" y="1705841"/>
                    <a:pt x="1151659" y="1653886"/>
                    <a:pt x="1281546" y="1567296"/>
                  </a:cubicBezTo>
                  <a:lnTo>
                    <a:pt x="363682" y="1567296"/>
                  </a:lnTo>
                  <a:cubicBezTo>
                    <a:pt x="502227" y="1653886"/>
                    <a:pt x="658091" y="1705841"/>
                    <a:pt x="822614" y="1705841"/>
                  </a:cubicBezTo>
                  <a:close/>
                  <a:moveTo>
                    <a:pt x="1671205" y="787977"/>
                  </a:moveTo>
                  <a:lnTo>
                    <a:pt x="822614" y="787977"/>
                  </a:lnTo>
                  <a:lnTo>
                    <a:pt x="822614" y="926523"/>
                  </a:lnTo>
                  <a:lnTo>
                    <a:pt x="1671205" y="926523"/>
                  </a:lnTo>
                  <a:lnTo>
                    <a:pt x="1671205" y="857250"/>
                  </a:lnTo>
                  <a:cubicBezTo>
                    <a:pt x="1679864" y="831273"/>
                    <a:pt x="1679864" y="813955"/>
                    <a:pt x="1671205" y="787977"/>
                  </a:cubicBezTo>
                  <a:close/>
                  <a:moveTo>
                    <a:pt x="43295" y="1186295"/>
                  </a:moveTo>
                  <a:lnTo>
                    <a:pt x="1619250" y="1186295"/>
                  </a:lnTo>
                  <a:cubicBezTo>
                    <a:pt x="1636568" y="1143000"/>
                    <a:pt x="1653886" y="1099705"/>
                    <a:pt x="1662546" y="1047750"/>
                  </a:cubicBezTo>
                  <a:lnTo>
                    <a:pt x="0" y="1047750"/>
                  </a:lnTo>
                  <a:cubicBezTo>
                    <a:pt x="8659" y="1099705"/>
                    <a:pt x="25977" y="1143000"/>
                    <a:pt x="43295" y="1186295"/>
                  </a:cubicBezTo>
                  <a:close/>
                  <a:moveTo>
                    <a:pt x="831273" y="398318"/>
                  </a:moveTo>
                  <a:lnTo>
                    <a:pt x="1549977" y="398318"/>
                  </a:lnTo>
                  <a:cubicBezTo>
                    <a:pt x="1515341" y="346364"/>
                    <a:pt x="1480705" y="303068"/>
                    <a:pt x="1446068" y="259773"/>
                  </a:cubicBezTo>
                  <a:lnTo>
                    <a:pt x="831273" y="259773"/>
                  </a:lnTo>
                  <a:lnTo>
                    <a:pt x="831273" y="398318"/>
                  </a:lnTo>
                  <a:close/>
                  <a:moveTo>
                    <a:pt x="831273" y="658091"/>
                  </a:moveTo>
                  <a:lnTo>
                    <a:pt x="1662546" y="658091"/>
                  </a:lnTo>
                  <a:cubicBezTo>
                    <a:pt x="1653886" y="614795"/>
                    <a:pt x="1636568" y="562841"/>
                    <a:pt x="1619250" y="519545"/>
                  </a:cubicBezTo>
                  <a:lnTo>
                    <a:pt x="831273" y="519545"/>
                  </a:lnTo>
                  <a:lnTo>
                    <a:pt x="831273" y="658091"/>
                  </a:lnTo>
                  <a:close/>
                  <a:moveTo>
                    <a:pt x="831273" y="138545"/>
                  </a:moveTo>
                  <a:lnTo>
                    <a:pt x="1290205" y="138545"/>
                  </a:lnTo>
                  <a:cubicBezTo>
                    <a:pt x="1160318" y="51955"/>
                    <a:pt x="1004455" y="0"/>
                    <a:pt x="831273" y="0"/>
                  </a:cubicBezTo>
                  <a:lnTo>
                    <a:pt x="831273" y="138545"/>
                  </a:lnTo>
                  <a:close/>
                </a:path>
              </a:pathLst>
            </a:custGeom>
            <a:solidFill>
              <a:srgbClr val="EB0000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65" name="图形 64"/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778635" y="5095170"/>
            <a:ext cx="687905" cy="674417"/>
          </a:xfrm>
          <a:prstGeom prst="rect">
            <a:avLst/>
          </a:prstGeom>
        </p:spPr>
      </p:pic>
      <p:cxnSp>
        <p:nvCxnSpPr>
          <p:cNvPr id="69" name="直接连接符 68"/>
          <p:cNvCxnSpPr/>
          <p:nvPr/>
        </p:nvCxnSpPr>
        <p:spPr>
          <a:xfrm>
            <a:off x="2733675" y="1345927"/>
            <a:ext cx="0" cy="769088"/>
          </a:xfrm>
          <a:prstGeom prst="line">
            <a:avLst/>
          </a:prstGeom>
          <a:ln>
            <a:gradFill>
              <a:gsLst>
                <a:gs pos="50000">
                  <a:srgbClr val="0971CA"/>
                </a:gs>
                <a:gs pos="0">
                  <a:srgbClr val="0971CA">
                    <a:alpha val="0"/>
                  </a:srgbClr>
                </a:gs>
                <a:gs pos="100000">
                  <a:srgbClr val="0971CA">
                    <a:alpha val="0"/>
                  </a:srgb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连接符 69"/>
          <p:cNvCxnSpPr/>
          <p:nvPr/>
        </p:nvCxnSpPr>
        <p:spPr>
          <a:xfrm>
            <a:off x="2733675" y="2579896"/>
            <a:ext cx="0" cy="769088"/>
          </a:xfrm>
          <a:prstGeom prst="line">
            <a:avLst/>
          </a:prstGeom>
          <a:ln>
            <a:gradFill>
              <a:gsLst>
                <a:gs pos="50000">
                  <a:srgbClr val="0971CA"/>
                </a:gs>
                <a:gs pos="0">
                  <a:srgbClr val="0971CA">
                    <a:alpha val="0"/>
                  </a:srgbClr>
                </a:gs>
                <a:gs pos="100000">
                  <a:srgbClr val="0971CA">
                    <a:alpha val="0"/>
                  </a:srgb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>
            <a:off x="2733675" y="3813865"/>
            <a:ext cx="0" cy="769088"/>
          </a:xfrm>
          <a:prstGeom prst="line">
            <a:avLst/>
          </a:prstGeom>
          <a:ln>
            <a:gradFill>
              <a:gsLst>
                <a:gs pos="50000">
                  <a:srgbClr val="0971CA"/>
                </a:gs>
                <a:gs pos="0">
                  <a:srgbClr val="0971CA">
                    <a:alpha val="0"/>
                  </a:srgbClr>
                </a:gs>
                <a:gs pos="100000">
                  <a:srgbClr val="0971CA">
                    <a:alpha val="0"/>
                  </a:srgb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>
            <a:off x="2733675" y="5047834"/>
            <a:ext cx="0" cy="769088"/>
          </a:xfrm>
          <a:prstGeom prst="line">
            <a:avLst/>
          </a:prstGeom>
          <a:ln>
            <a:gradFill>
              <a:gsLst>
                <a:gs pos="50000">
                  <a:srgbClr val="0971CA"/>
                </a:gs>
                <a:gs pos="0">
                  <a:srgbClr val="0971CA">
                    <a:alpha val="0"/>
                  </a:srgbClr>
                </a:gs>
                <a:gs pos="100000">
                  <a:srgbClr val="0971CA">
                    <a:alpha val="0"/>
                  </a:srgb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图片 76" descr="徽标&#10;&#10;AI 生成的内容可能不正确。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" b="-1621"/>
          <a:stretch>
            <a:fillRect/>
          </a:stretch>
        </p:blipFill>
        <p:spPr>
          <a:xfrm>
            <a:off x="2990850" y="2579896"/>
            <a:ext cx="771761" cy="76658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rgbClr val="0971CA">
                <a:alpha val="50000"/>
              </a:srgbClr>
            </a:solidFill>
          </a:ln>
        </p:spPr>
      </p:pic>
      <p:grpSp>
        <p:nvGrpSpPr>
          <p:cNvPr id="81" name="组合 80"/>
          <p:cNvGrpSpPr/>
          <p:nvPr/>
        </p:nvGrpSpPr>
        <p:grpSpPr>
          <a:xfrm>
            <a:off x="2990850" y="3813865"/>
            <a:ext cx="769088" cy="769088"/>
            <a:chOff x="2990850" y="3813865"/>
            <a:chExt cx="769088" cy="769088"/>
          </a:xfrm>
        </p:grpSpPr>
        <p:sp>
          <p:nvSpPr>
            <p:cNvPr id="75" name="椭圆 74"/>
            <p:cNvSpPr/>
            <p:nvPr/>
          </p:nvSpPr>
          <p:spPr>
            <a:xfrm>
              <a:off x="2990850" y="3813865"/>
              <a:ext cx="769088" cy="76908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971CA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0" name="组合 79"/>
            <p:cNvGrpSpPr/>
            <p:nvPr/>
          </p:nvGrpSpPr>
          <p:grpSpPr>
            <a:xfrm>
              <a:off x="3082712" y="3895323"/>
              <a:ext cx="585365" cy="491491"/>
              <a:chOff x="3082712" y="3923523"/>
              <a:chExt cx="585365" cy="491491"/>
            </a:xfrm>
          </p:grpSpPr>
          <p:pic>
            <p:nvPicPr>
              <p:cNvPr id="78" name="图片 77" descr="文本&#10;&#10;AI 生成的内容可能不正确。"/>
              <p:cNvPicPr>
                <a:picLocks noChangeAspect="1"/>
              </p:cNvPicPr>
              <p:nvPr>
                <p:custDataLst>
                  <p:tags r:id="rId21"/>
                </p:custDataLst>
              </p:nvPr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9890"/>
              <a:stretch>
                <a:fillRect/>
              </a:stretch>
            </p:blipFill>
            <p:spPr>
              <a:xfrm>
                <a:off x="3206584" y="3923523"/>
                <a:ext cx="337621" cy="325079"/>
              </a:xfrm>
              <a:prstGeom prst="rect">
                <a:avLst/>
              </a:prstGeom>
            </p:spPr>
          </p:pic>
          <p:pic>
            <p:nvPicPr>
              <p:cNvPr id="79" name="图片 78" descr="文本&#10;&#10;AI 生成的内容可能不正确。"/>
              <p:cNvPicPr>
                <a:picLocks noChangeAspect="1"/>
              </p:cNvPicPr>
              <p:nvPr>
                <p:custDataLst>
                  <p:tags r:id="rId23"/>
                </p:custDataLst>
              </p:nvPr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152" t="12911" b="23965"/>
              <a:stretch>
                <a:fillRect/>
              </a:stretch>
            </p:blipFill>
            <p:spPr>
              <a:xfrm>
                <a:off x="3082712" y="4261642"/>
                <a:ext cx="585365" cy="153372"/>
              </a:xfrm>
              <a:prstGeom prst="rect">
                <a:avLst/>
              </a:prstGeom>
            </p:spPr>
          </p:pic>
        </p:grpSp>
      </p:grpSp>
      <p:pic>
        <p:nvPicPr>
          <p:cNvPr id="83" name="图片 8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850" y="1345928"/>
            <a:ext cx="775096" cy="769087"/>
          </a:xfrm>
          <a:prstGeom prst="ellipse">
            <a:avLst/>
          </a:prstGeom>
          <a:solidFill>
            <a:schemeClr val="bg1"/>
          </a:solidFill>
          <a:ln>
            <a:solidFill>
              <a:srgbClr val="0971CA">
                <a:alpha val="50000"/>
              </a:srgbClr>
            </a:solidFill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2091690" y="164149"/>
            <a:ext cx="9725660" cy="82994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zh-CN" altLang="en-US" sz="2400" b="1">
                <a:solidFill>
                  <a:srgbClr val="E1007F"/>
                </a:solidFill>
                <a:latin typeface="微软雅黑" panose="020B0503020204020204" pitchFamily="34" charset="-122"/>
                <a:sym typeface="+mn-ea"/>
              </a:rPr>
              <a:t>幼儿</a:t>
            </a: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安全性数据与成人一致；无口服西替利嗪用药相关不良反应；不加重干眼</a:t>
            </a:r>
            <a:endParaRPr lang="zh-CN" altLang="en-US" sz="2400" b="1">
              <a:gradFill>
                <a:gsLst>
                  <a:gs pos="5000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10" name="任意多边形: 形状 9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安全性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374650" y="6361913"/>
            <a:ext cx="11442700" cy="32105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 Silverstein S.Safety of cetirizine ophthalmic solution 0.24%[J].Ophthalmic Therapy,Dove Press,2019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（安全性大样本）；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2. Blurred Lines:The Interaction and Overlap of Ocular Allergy and Dry Eye,Ophthalmology360,2025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（与干眼联用优势综述）； 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3.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国内 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III 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期注册临床试验报告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sp>
        <p:nvSpPr>
          <p:cNvPr id="15" name="任意多边形: 形状 14"/>
          <p:cNvSpPr/>
          <p:nvPr/>
        </p:nvSpPr>
        <p:spPr>
          <a:xfrm>
            <a:off x="364489" y="4310350"/>
            <a:ext cx="11475720" cy="1837690"/>
          </a:xfrm>
          <a:custGeom>
            <a:avLst/>
            <a:gdLst>
              <a:gd name="csX0" fmla="*/ 368152 w 11475720"/>
              <a:gd name="csY0" fmla="*/ 0 h 1837690"/>
              <a:gd name="csX1" fmla="*/ 1697089 w 11475720"/>
              <a:gd name="csY1" fmla="*/ 0 h 1837690"/>
              <a:gd name="csX2" fmla="*/ 3234550 w 11475720"/>
              <a:gd name="csY2" fmla="*/ 0 h 1837690"/>
              <a:gd name="csX3" fmla="*/ 3628788 w 11475720"/>
              <a:gd name="csY3" fmla="*/ 0 h 1837690"/>
              <a:gd name="csX4" fmla="*/ 4772010 w 11475720"/>
              <a:gd name="csY4" fmla="*/ 0 h 1837690"/>
              <a:gd name="csX5" fmla="*/ 4957724 w 11475720"/>
              <a:gd name="csY5" fmla="*/ 0 h 1837690"/>
              <a:gd name="csX6" fmla="*/ 6309471 w 11475720"/>
              <a:gd name="csY6" fmla="*/ 0 h 1837690"/>
              <a:gd name="csX7" fmla="*/ 6495185 w 11475720"/>
              <a:gd name="csY7" fmla="*/ 0 h 1837690"/>
              <a:gd name="csX8" fmla="*/ 7846933 w 11475720"/>
              <a:gd name="csY8" fmla="*/ 0 h 1837690"/>
              <a:gd name="csX9" fmla="*/ 8032646 w 11475720"/>
              <a:gd name="csY9" fmla="*/ 0 h 1837690"/>
              <a:gd name="csX10" fmla="*/ 9570107 w 11475720"/>
              <a:gd name="csY10" fmla="*/ 0 h 1837690"/>
              <a:gd name="csX11" fmla="*/ 11107568 w 11475720"/>
              <a:gd name="csY11" fmla="*/ 0 h 1837690"/>
              <a:gd name="csX12" fmla="*/ 11256116 w 11475720"/>
              <a:gd name="csY12" fmla="*/ 134764 h 1837690"/>
              <a:gd name="csX13" fmla="*/ 11464662 w 11475720"/>
              <a:gd name="csY13" fmla="*/ 841140 h 1837690"/>
              <a:gd name="csX14" fmla="*/ 11464662 w 11475720"/>
              <a:gd name="csY14" fmla="*/ 996550 h 1837690"/>
              <a:gd name="csX15" fmla="*/ 11256116 w 11475720"/>
              <a:gd name="csY15" fmla="*/ 1702927 h 1837690"/>
              <a:gd name="csX16" fmla="*/ 11107568 w 11475720"/>
              <a:gd name="csY16" fmla="*/ 1837690 h 1837690"/>
              <a:gd name="csX17" fmla="*/ 9570107 w 11475720"/>
              <a:gd name="csY17" fmla="*/ 1837690 h 1837690"/>
              <a:gd name="csX18" fmla="*/ 8032646 w 11475720"/>
              <a:gd name="csY18" fmla="*/ 1837690 h 1837690"/>
              <a:gd name="csX19" fmla="*/ 7846933 w 11475720"/>
              <a:gd name="csY19" fmla="*/ 1837690 h 1837690"/>
              <a:gd name="csX20" fmla="*/ 6495185 w 11475720"/>
              <a:gd name="csY20" fmla="*/ 1837690 h 1837690"/>
              <a:gd name="csX21" fmla="*/ 6309471 w 11475720"/>
              <a:gd name="csY21" fmla="*/ 1837690 h 1837690"/>
              <a:gd name="csX22" fmla="*/ 4957724 w 11475720"/>
              <a:gd name="csY22" fmla="*/ 1837690 h 1837690"/>
              <a:gd name="csX23" fmla="*/ 4772010 w 11475720"/>
              <a:gd name="csY23" fmla="*/ 1837690 h 1837690"/>
              <a:gd name="csX24" fmla="*/ 3628788 w 11475720"/>
              <a:gd name="csY24" fmla="*/ 1837690 h 1837690"/>
              <a:gd name="csX25" fmla="*/ 3234550 w 11475720"/>
              <a:gd name="csY25" fmla="*/ 1837690 h 1837690"/>
              <a:gd name="csX26" fmla="*/ 1697089 w 11475720"/>
              <a:gd name="csY26" fmla="*/ 1837690 h 1837690"/>
              <a:gd name="csX27" fmla="*/ 368152 w 11475720"/>
              <a:gd name="csY27" fmla="*/ 1837690 h 1837690"/>
              <a:gd name="csX28" fmla="*/ 219604 w 11475720"/>
              <a:gd name="csY28" fmla="*/ 1702927 h 1837690"/>
              <a:gd name="csX29" fmla="*/ 11058 w 11475720"/>
              <a:gd name="csY29" fmla="*/ 996550 h 1837690"/>
              <a:gd name="csX30" fmla="*/ 11058 w 11475720"/>
              <a:gd name="csY30" fmla="*/ 841140 h 1837690"/>
              <a:gd name="csX31" fmla="*/ 219604 w 11475720"/>
              <a:gd name="csY31" fmla="*/ 134764 h 1837690"/>
              <a:gd name="csX32" fmla="*/ 368152 w 11475720"/>
              <a:gd name="csY32" fmla="*/ 0 h 183769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11475720" h="1837690">
                <a:moveTo>
                  <a:pt x="368152" y="0"/>
                </a:moveTo>
                <a:lnTo>
                  <a:pt x="1697089" y="0"/>
                </a:lnTo>
                <a:lnTo>
                  <a:pt x="3234550" y="0"/>
                </a:lnTo>
                <a:lnTo>
                  <a:pt x="3628788" y="0"/>
                </a:lnTo>
                <a:lnTo>
                  <a:pt x="4772010" y="0"/>
                </a:lnTo>
                <a:lnTo>
                  <a:pt x="4957724" y="0"/>
                </a:lnTo>
                <a:lnTo>
                  <a:pt x="6309471" y="0"/>
                </a:lnTo>
                <a:lnTo>
                  <a:pt x="6495185" y="0"/>
                </a:lnTo>
                <a:lnTo>
                  <a:pt x="7846933" y="0"/>
                </a:lnTo>
                <a:lnTo>
                  <a:pt x="8032646" y="0"/>
                </a:lnTo>
                <a:lnTo>
                  <a:pt x="9570107" y="0"/>
                </a:lnTo>
                <a:lnTo>
                  <a:pt x="11107568" y="0"/>
                </a:lnTo>
                <a:cubicBezTo>
                  <a:pt x="11173192" y="0"/>
                  <a:pt x="11232168" y="53429"/>
                  <a:pt x="11256116" y="134764"/>
                </a:cubicBezTo>
                <a:lnTo>
                  <a:pt x="11464662" y="841140"/>
                </a:lnTo>
                <a:cubicBezTo>
                  <a:pt x="11479406" y="891053"/>
                  <a:pt x="11479406" y="946637"/>
                  <a:pt x="11464662" y="996550"/>
                </a:cubicBezTo>
                <a:lnTo>
                  <a:pt x="11256116" y="1702927"/>
                </a:lnTo>
                <a:cubicBezTo>
                  <a:pt x="11232168" y="1784261"/>
                  <a:pt x="11173192" y="1837690"/>
                  <a:pt x="11107568" y="1837690"/>
                </a:cubicBezTo>
                <a:lnTo>
                  <a:pt x="9570107" y="1837690"/>
                </a:lnTo>
                <a:lnTo>
                  <a:pt x="8032646" y="1837690"/>
                </a:lnTo>
                <a:lnTo>
                  <a:pt x="7846933" y="1837690"/>
                </a:lnTo>
                <a:lnTo>
                  <a:pt x="6495185" y="1837690"/>
                </a:lnTo>
                <a:lnTo>
                  <a:pt x="6309471" y="1837690"/>
                </a:lnTo>
                <a:lnTo>
                  <a:pt x="4957724" y="1837690"/>
                </a:lnTo>
                <a:lnTo>
                  <a:pt x="4772010" y="1837690"/>
                </a:lnTo>
                <a:lnTo>
                  <a:pt x="3628788" y="1837690"/>
                </a:lnTo>
                <a:lnTo>
                  <a:pt x="3234550" y="1837690"/>
                </a:lnTo>
                <a:lnTo>
                  <a:pt x="1697089" y="1837690"/>
                </a:lnTo>
                <a:lnTo>
                  <a:pt x="368152" y="1837690"/>
                </a:lnTo>
                <a:cubicBezTo>
                  <a:pt x="302528" y="1837690"/>
                  <a:pt x="243552" y="1784261"/>
                  <a:pt x="219604" y="1702927"/>
                </a:cubicBezTo>
                <a:lnTo>
                  <a:pt x="11058" y="996550"/>
                </a:lnTo>
                <a:cubicBezTo>
                  <a:pt x="-3686" y="946637"/>
                  <a:pt x="-3686" y="891053"/>
                  <a:pt x="11058" y="841140"/>
                </a:cubicBezTo>
                <a:lnTo>
                  <a:pt x="219604" y="134764"/>
                </a:lnTo>
                <a:cubicBezTo>
                  <a:pt x="243552" y="53429"/>
                  <a:pt x="302528" y="0"/>
                  <a:pt x="368152" y="0"/>
                </a:cubicBezTo>
                <a:close/>
              </a:path>
            </a:pathLst>
          </a:custGeom>
          <a:solidFill>
            <a:schemeClr val="bg1"/>
          </a:solidFill>
          <a:ln w="28575" cap="flat">
            <a:solidFill>
              <a:srgbClr val="0971CA"/>
            </a:solidFill>
            <a:prstDash val="solid"/>
            <a:miter/>
          </a:ln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形 28"/>
          <p:cNvSpPr/>
          <p:nvPr/>
        </p:nvSpPr>
        <p:spPr>
          <a:xfrm>
            <a:off x="6182995" y="1255151"/>
            <a:ext cx="5657215" cy="2652395"/>
          </a:xfrm>
          <a:custGeom>
            <a:avLst/>
            <a:gdLst>
              <a:gd name="csX0" fmla="*/ 0 w 5657064"/>
              <a:gd name="csY0" fmla="*/ 238364 h 2061661"/>
              <a:gd name="csX1" fmla="*/ 0 w 5657064"/>
              <a:gd name="csY1" fmla="*/ 1823297 h 2061661"/>
              <a:gd name="csX2" fmla="*/ 238364 w 5657064"/>
              <a:gd name="csY2" fmla="*/ 2061661 h 2061661"/>
              <a:gd name="csX3" fmla="*/ 5107320 w 5657064"/>
              <a:gd name="csY3" fmla="*/ 2061661 h 2061661"/>
              <a:gd name="csX4" fmla="*/ 5329140 w 5657064"/>
              <a:gd name="csY4" fmla="*/ 1910473 h 2061661"/>
              <a:gd name="csX5" fmla="*/ 5640552 w 5657064"/>
              <a:gd name="csY5" fmla="*/ 1118006 h 2061661"/>
              <a:gd name="csX6" fmla="*/ 5640552 w 5657064"/>
              <a:gd name="csY6" fmla="*/ 943655 h 2061661"/>
              <a:gd name="csX7" fmla="*/ 5329140 w 5657064"/>
              <a:gd name="csY7" fmla="*/ 151188 h 2061661"/>
              <a:gd name="csX8" fmla="*/ 5107320 w 5657064"/>
              <a:gd name="csY8" fmla="*/ 0 h 2061661"/>
              <a:gd name="csX9" fmla="*/ 238364 w 5657064"/>
              <a:gd name="csY9" fmla="*/ 0 h 2061661"/>
              <a:gd name="csX10" fmla="*/ 0 w 5657064"/>
              <a:gd name="csY10" fmla="*/ 238364 h 20616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657064" h="2061661">
                <a:moveTo>
                  <a:pt x="0" y="238364"/>
                </a:moveTo>
                <a:lnTo>
                  <a:pt x="0" y="1823297"/>
                </a:lnTo>
                <a:cubicBezTo>
                  <a:pt x="0" y="1954887"/>
                  <a:pt x="106774" y="2061661"/>
                  <a:pt x="238364" y="2061661"/>
                </a:cubicBezTo>
                <a:lnTo>
                  <a:pt x="5107320" y="2061661"/>
                </a:lnTo>
                <a:cubicBezTo>
                  <a:pt x="5205313" y="2061661"/>
                  <a:pt x="5293379" y="2001720"/>
                  <a:pt x="5329140" y="1910473"/>
                </a:cubicBezTo>
                <a:lnTo>
                  <a:pt x="5640552" y="1118006"/>
                </a:lnTo>
                <a:cubicBezTo>
                  <a:pt x="5662569" y="1062010"/>
                  <a:pt x="5662569" y="999651"/>
                  <a:pt x="5640552" y="943655"/>
                </a:cubicBezTo>
                <a:lnTo>
                  <a:pt x="5329140" y="151188"/>
                </a:lnTo>
                <a:cubicBezTo>
                  <a:pt x="5293379" y="59941"/>
                  <a:pt x="5205313" y="0"/>
                  <a:pt x="5107320" y="0"/>
                </a:cubicBezTo>
                <a:lnTo>
                  <a:pt x="238364" y="0"/>
                </a:lnTo>
                <a:cubicBezTo>
                  <a:pt x="106774" y="0"/>
                  <a:pt x="0" y="106774"/>
                  <a:pt x="0" y="238364"/>
                </a:cubicBezTo>
                <a:close/>
              </a:path>
            </a:pathLst>
          </a:custGeom>
          <a:solidFill>
            <a:schemeClr val="bg1"/>
          </a:solidFill>
          <a:ln w="28575" cap="flat">
            <a:solidFill>
              <a:srgbClr val="0971CA"/>
            </a:solidFill>
            <a:prstDash val="solid"/>
            <a:miter/>
          </a:ln>
        </p:spPr>
        <p:txBody>
          <a:bodyPr/>
          <a:lstStyle/>
          <a:p>
            <a:endParaRPr lang="zh-CN" altLang="en-US">
              <a:solidFill>
                <a:schemeClr val="accent1"/>
              </a:solidFill>
            </a:endParaRPr>
          </a:p>
        </p:txBody>
      </p:sp>
      <p:sp>
        <p:nvSpPr>
          <p:cNvPr id="17" name="图形 28"/>
          <p:cNvSpPr/>
          <p:nvPr/>
        </p:nvSpPr>
        <p:spPr>
          <a:xfrm flipH="1">
            <a:off x="364490" y="1224036"/>
            <a:ext cx="5533390" cy="2684145"/>
          </a:xfrm>
          <a:custGeom>
            <a:avLst/>
            <a:gdLst>
              <a:gd name="csX0" fmla="*/ 0 w 5657064"/>
              <a:gd name="csY0" fmla="*/ 238364 h 2061661"/>
              <a:gd name="csX1" fmla="*/ 0 w 5657064"/>
              <a:gd name="csY1" fmla="*/ 1823297 h 2061661"/>
              <a:gd name="csX2" fmla="*/ 238364 w 5657064"/>
              <a:gd name="csY2" fmla="*/ 2061661 h 2061661"/>
              <a:gd name="csX3" fmla="*/ 5107320 w 5657064"/>
              <a:gd name="csY3" fmla="*/ 2061661 h 2061661"/>
              <a:gd name="csX4" fmla="*/ 5329140 w 5657064"/>
              <a:gd name="csY4" fmla="*/ 1910473 h 2061661"/>
              <a:gd name="csX5" fmla="*/ 5640552 w 5657064"/>
              <a:gd name="csY5" fmla="*/ 1118006 h 2061661"/>
              <a:gd name="csX6" fmla="*/ 5640552 w 5657064"/>
              <a:gd name="csY6" fmla="*/ 943655 h 2061661"/>
              <a:gd name="csX7" fmla="*/ 5329140 w 5657064"/>
              <a:gd name="csY7" fmla="*/ 151188 h 2061661"/>
              <a:gd name="csX8" fmla="*/ 5107320 w 5657064"/>
              <a:gd name="csY8" fmla="*/ 0 h 2061661"/>
              <a:gd name="csX9" fmla="*/ 238364 w 5657064"/>
              <a:gd name="csY9" fmla="*/ 0 h 2061661"/>
              <a:gd name="csX10" fmla="*/ 0 w 5657064"/>
              <a:gd name="csY10" fmla="*/ 238364 h 20616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5657064" h="2061661">
                <a:moveTo>
                  <a:pt x="0" y="238364"/>
                </a:moveTo>
                <a:lnTo>
                  <a:pt x="0" y="1823297"/>
                </a:lnTo>
                <a:cubicBezTo>
                  <a:pt x="0" y="1954887"/>
                  <a:pt x="106774" y="2061661"/>
                  <a:pt x="238364" y="2061661"/>
                </a:cubicBezTo>
                <a:lnTo>
                  <a:pt x="5107320" y="2061661"/>
                </a:lnTo>
                <a:cubicBezTo>
                  <a:pt x="5205313" y="2061661"/>
                  <a:pt x="5293379" y="2001720"/>
                  <a:pt x="5329140" y="1910473"/>
                </a:cubicBezTo>
                <a:lnTo>
                  <a:pt x="5640552" y="1118006"/>
                </a:lnTo>
                <a:cubicBezTo>
                  <a:pt x="5662569" y="1062010"/>
                  <a:pt x="5662569" y="999651"/>
                  <a:pt x="5640552" y="943655"/>
                </a:cubicBezTo>
                <a:lnTo>
                  <a:pt x="5329140" y="151188"/>
                </a:lnTo>
                <a:cubicBezTo>
                  <a:pt x="5293379" y="59941"/>
                  <a:pt x="5205313" y="0"/>
                  <a:pt x="5107320" y="0"/>
                </a:cubicBezTo>
                <a:lnTo>
                  <a:pt x="238364" y="0"/>
                </a:lnTo>
                <a:cubicBezTo>
                  <a:pt x="106774" y="0"/>
                  <a:pt x="0" y="106774"/>
                  <a:pt x="0" y="238364"/>
                </a:cubicBezTo>
                <a:close/>
              </a:path>
            </a:pathLst>
          </a:custGeom>
          <a:solidFill>
            <a:schemeClr val="bg1"/>
          </a:solidFill>
          <a:ln w="28575" cap="flat">
            <a:solidFill>
              <a:srgbClr val="0971CA"/>
            </a:solidFill>
            <a:prstDash val="solid"/>
            <a:miter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8" name="任意多边形: 形状 17"/>
          <p:cNvSpPr/>
          <p:nvPr/>
        </p:nvSpPr>
        <p:spPr>
          <a:xfrm flipH="1">
            <a:off x="547370" y="1212606"/>
            <a:ext cx="5351145" cy="641350"/>
          </a:xfrm>
          <a:custGeom>
            <a:avLst/>
            <a:gdLst>
              <a:gd name="csX0" fmla="*/ 5107320 w 5476689"/>
              <a:gd name="csY0" fmla="*/ 0 h 634850"/>
              <a:gd name="csX1" fmla="*/ 238364 w 5476689"/>
              <a:gd name="csY1" fmla="*/ 0 h 634850"/>
              <a:gd name="csX2" fmla="*/ 0 w 5476689"/>
              <a:gd name="csY2" fmla="*/ 287329 h 634850"/>
              <a:gd name="csX3" fmla="*/ 0 w 5476689"/>
              <a:gd name="csY3" fmla="*/ 377416 h 634850"/>
              <a:gd name="csX4" fmla="*/ 257434 w 5476689"/>
              <a:gd name="csY4" fmla="*/ 634850 h 634850"/>
              <a:gd name="csX5" fmla="*/ 5476689 w 5476689"/>
              <a:gd name="csY5" fmla="*/ 634850 h 634850"/>
              <a:gd name="csX6" fmla="*/ 5329140 w 5476689"/>
              <a:gd name="csY6" fmla="*/ 182245 h 634850"/>
              <a:gd name="csX7" fmla="*/ 5107320 w 5476689"/>
              <a:gd name="csY7" fmla="*/ 0 h 6348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476689" h="634850">
                <a:moveTo>
                  <a:pt x="5107320" y="0"/>
                </a:moveTo>
                <a:lnTo>
                  <a:pt x="238364" y="0"/>
                </a:lnTo>
                <a:cubicBezTo>
                  <a:pt x="106774" y="0"/>
                  <a:pt x="0" y="128708"/>
                  <a:pt x="0" y="287329"/>
                </a:cubicBezTo>
                <a:lnTo>
                  <a:pt x="0" y="377416"/>
                </a:lnTo>
                <a:cubicBezTo>
                  <a:pt x="0" y="519534"/>
                  <a:pt x="115316" y="634850"/>
                  <a:pt x="257434" y="634850"/>
                </a:cubicBezTo>
                <a:lnTo>
                  <a:pt x="5476689" y="634850"/>
                </a:lnTo>
                <a:lnTo>
                  <a:pt x="5329140" y="182245"/>
                </a:lnTo>
                <a:cubicBezTo>
                  <a:pt x="5293379" y="72254"/>
                  <a:pt x="5205313" y="0"/>
                  <a:pt x="5107320" y="0"/>
                </a:cubicBezTo>
                <a:close/>
              </a:path>
            </a:pathLst>
          </a:custGeom>
        </p:spPr>
        <p:style>
          <a:lnRef idx="0">
            <a:srgbClr val="FFFFFF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r>
              <a:rPr lang="zh-CN" altLang="en-US" sz="2000" b="1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0" scaled="0"/>
                </a:gradFill>
                <a:latin typeface="+mn-ea"/>
              </a:rPr>
              <a:t>无口服西替利嗪用药相关不良反应</a:t>
            </a:r>
            <a:endParaRPr lang="zh-CN" altLang="en-US" sz="2000" b="1">
              <a:gradFill>
                <a:gsLst>
                  <a:gs pos="100000">
                    <a:schemeClr val="bg1"/>
                  </a:gs>
                  <a:gs pos="0">
                    <a:schemeClr val="bg1"/>
                  </a:gs>
                </a:gsLst>
                <a:lin ang="0" scaled="0"/>
              </a:gradFill>
              <a:latin typeface="+mn-ea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6182995" y="1220226"/>
            <a:ext cx="5461635" cy="618490"/>
          </a:xfrm>
          <a:custGeom>
            <a:avLst/>
            <a:gdLst>
              <a:gd name="csX0" fmla="*/ 5107320 w 5476689"/>
              <a:gd name="csY0" fmla="*/ 0 h 634850"/>
              <a:gd name="csX1" fmla="*/ 238364 w 5476689"/>
              <a:gd name="csY1" fmla="*/ 0 h 634850"/>
              <a:gd name="csX2" fmla="*/ 0 w 5476689"/>
              <a:gd name="csY2" fmla="*/ 287329 h 634850"/>
              <a:gd name="csX3" fmla="*/ 0 w 5476689"/>
              <a:gd name="csY3" fmla="*/ 377416 h 634850"/>
              <a:gd name="csX4" fmla="*/ 257434 w 5476689"/>
              <a:gd name="csY4" fmla="*/ 634850 h 634850"/>
              <a:gd name="csX5" fmla="*/ 5476689 w 5476689"/>
              <a:gd name="csY5" fmla="*/ 634850 h 634850"/>
              <a:gd name="csX6" fmla="*/ 5329140 w 5476689"/>
              <a:gd name="csY6" fmla="*/ 182245 h 634850"/>
              <a:gd name="csX7" fmla="*/ 5107320 w 5476689"/>
              <a:gd name="csY7" fmla="*/ 0 h 6348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</a:cxnLst>
            <a:rect l="l" t="t" r="r" b="b"/>
            <a:pathLst>
              <a:path w="5476689" h="634850">
                <a:moveTo>
                  <a:pt x="5107320" y="0"/>
                </a:moveTo>
                <a:lnTo>
                  <a:pt x="238364" y="0"/>
                </a:lnTo>
                <a:cubicBezTo>
                  <a:pt x="106774" y="0"/>
                  <a:pt x="0" y="128708"/>
                  <a:pt x="0" y="287329"/>
                </a:cubicBezTo>
                <a:lnTo>
                  <a:pt x="0" y="377416"/>
                </a:lnTo>
                <a:cubicBezTo>
                  <a:pt x="0" y="519534"/>
                  <a:pt x="115316" y="634850"/>
                  <a:pt x="257434" y="634850"/>
                </a:cubicBezTo>
                <a:lnTo>
                  <a:pt x="5476689" y="634850"/>
                </a:lnTo>
                <a:lnTo>
                  <a:pt x="5329140" y="182245"/>
                </a:lnTo>
                <a:cubicBezTo>
                  <a:pt x="5293379" y="72254"/>
                  <a:pt x="5205313" y="0"/>
                  <a:pt x="5107320" y="0"/>
                </a:cubicBezTo>
                <a:close/>
              </a:path>
            </a:pathLst>
          </a:custGeom>
        </p:spPr>
        <p:style>
          <a:lnRef idx="0">
            <a:srgbClr val="FFFFFF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r>
              <a:rPr lang="zh-CN" altLang="en-US" sz="2000" b="1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0" scaled="0"/>
                </a:gradFill>
                <a:latin typeface="+mn-ea"/>
              </a:rPr>
              <a:t>眼部局部安全性优越，干眼人群友好</a:t>
            </a:r>
            <a:endParaRPr lang="zh-CN" altLang="en-US" sz="2000" b="1">
              <a:gradFill>
                <a:gsLst>
                  <a:gs pos="100000">
                    <a:schemeClr val="bg1"/>
                  </a:gs>
                  <a:gs pos="0">
                    <a:schemeClr val="bg1"/>
                  </a:gs>
                </a:gsLst>
                <a:lin ang="0" scaled="0"/>
              </a:gradFill>
              <a:latin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811530" y="2076841"/>
            <a:ext cx="4946650" cy="1598295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0971CA"/>
              </a:buClr>
              <a:buFont typeface="Wingdings" panose="05000000000000000000" pitchFamily="2" charset="2"/>
              <a:buChar char="n"/>
            </a:pPr>
            <a:r>
              <a:rPr lang="zh-CN" altLang="en-US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局部滴眼血浆峰浓度 1.7</a:t>
            </a:r>
            <a:r>
              <a:rPr lang="en-US" altLang="zh-CN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ng/mL，</a:t>
            </a:r>
            <a:r>
              <a:rPr lang="zh-CN" altLang="en-US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仅为口服 10</a:t>
            </a:r>
            <a:r>
              <a:rPr lang="en-US" altLang="zh-CN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mg </a:t>
            </a:r>
            <a:r>
              <a:rPr lang="zh-CN" altLang="en-US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西替利嗪（300</a:t>
            </a:r>
            <a:r>
              <a:rPr lang="en-US" altLang="zh-CN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ng/mL）</a:t>
            </a:r>
            <a:r>
              <a:rPr lang="zh-CN" altLang="en-US" sz="1400" b="1" dirty="0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的 0.57%，药物绝大部分滞留眼表泪膜，极少入血、难穿透血脑屏障，无中枢抑制、嗜睡、口干全身高发不良反应</a:t>
            </a:r>
            <a:endParaRPr lang="zh-CN" altLang="en-US" sz="1400" b="1" dirty="0">
              <a:gradFill>
                <a:gsLst>
                  <a:gs pos="0">
                    <a:schemeClr val="tx1"/>
                  </a:gs>
                  <a:gs pos="50000">
                    <a:schemeClr val="tx1"/>
                  </a:gs>
                </a:gsLst>
                <a:lin ang="2700000" scaled="1"/>
              </a:gradFill>
              <a:latin typeface="+mn-ea"/>
              <a:cs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6241415" y="2080651"/>
            <a:ext cx="5418455" cy="1310005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0971CA"/>
              </a:buClr>
              <a:buFont typeface="Wingdings" panose="05000000000000000000" pitchFamily="2" charset="2"/>
              <a:buChar char="n"/>
            </a:pP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相比目录内依美斯汀、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  <a:sym typeface="+mn-ea"/>
              </a:rPr>
              <a:t>奥洛他定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等多剂量抗组胺药品，本品不加重干眼、不破坏泪膜稳定性，在过敏合并干眼患者中耐受性更优</a:t>
            </a:r>
            <a:endParaRPr lang="zh-CN" altLang="en-US" sz="1400" b="1">
              <a:gradFill>
                <a:gsLst>
                  <a:gs pos="0">
                    <a:schemeClr val="tx1"/>
                  </a:gs>
                  <a:gs pos="50000">
                    <a:schemeClr val="tx1"/>
                  </a:gs>
                </a:gsLst>
                <a:lin ang="2700000" scaled="1"/>
              </a:gradFill>
              <a:latin typeface="+mn-ea"/>
              <a:cs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0971CA"/>
              </a:buClr>
              <a:buFont typeface="Wingdings" panose="05000000000000000000" pitchFamily="2" charset="2"/>
              <a:buChar char="n"/>
            </a:pP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无抗胆碱能活性，避免传统药物“止痒却加重干眼”的弊端</a:t>
            </a:r>
            <a:endParaRPr lang="zh-CN" altLang="en-US" sz="1400" b="1">
              <a:gradFill>
                <a:gsLst>
                  <a:gs pos="0">
                    <a:schemeClr val="tx1"/>
                  </a:gs>
                  <a:gs pos="50000">
                    <a:schemeClr val="tx1"/>
                  </a:gs>
                </a:gsLst>
                <a:lin ang="2700000" scaled="1"/>
              </a:gradFill>
              <a:latin typeface="+mn-ea"/>
              <a:cs typeface="微软雅黑" panose="020B0503020204020204" pitchFamily="34" charset="-122"/>
            </a:endParaRPr>
          </a:p>
        </p:txBody>
      </p:sp>
      <p:sp>
        <p:nvSpPr>
          <p:cNvPr id="23" name="任意多边形: 形状 22"/>
          <p:cNvSpPr/>
          <p:nvPr/>
        </p:nvSpPr>
        <p:spPr>
          <a:xfrm>
            <a:off x="2971800" y="4079209"/>
            <a:ext cx="5981065" cy="460375"/>
          </a:xfrm>
          <a:custGeom>
            <a:avLst/>
            <a:gdLst>
              <a:gd name="csX0" fmla="*/ 180458 w 11525111"/>
              <a:gd name="csY0" fmla="*/ 0 h 407718"/>
              <a:gd name="csX1" fmla="*/ 412768 w 11525111"/>
              <a:gd name="csY1" fmla="*/ 0 h 407718"/>
              <a:gd name="csX2" fmla="*/ 870710 w 11525111"/>
              <a:gd name="csY2" fmla="*/ 0 h 407718"/>
              <a:gd name="csX3" fmla="*/ 1142677 w 11525111"/>
              <a:gd name="csY3" fmla="*/ 0 h 407718"/>
              <a:gd name="csX4" fmla="*/ 3145924 w 11525111"/>
              <a:gd name="csY4" fmla="*/ 0 h 407718"/>
              <a:gd name="csX5" fmla="*/ 3378234 w 11525111"/>
              <a:gd name="csY5" fmla="*/ 0 h 407718"/>
              <a:gd name="csX6" fmla="*/ 3836175 w 11525111"/>
              <a:gd name="csY6" fmla="*/ 0 h 407718"/>
              <a:gd name="csX7" fmla="*/ 4108142 w 11525111"/>
              <a:gd name="csY7" fmla="*/ 0 h 407718"/>
              <a:gd name="csX8" fmla="*/ 4451503 w 11525111"/>
              <a:gd name="csY8" fmla="*/ 0 h 407718"/>
              <a:gd name="csX9" fmla="*/ 4723471 w 11525111"/>
              <a:gd name="csY9" fmla="*/ 0 h 407718"/>
              <a:gd name="csX10" fmla="*/ 5181413 w 11525111"/>
              <a:gd name="csY10" fmla="*/ 0 h 407718"/>
              <a:gd name="csX11" fmla="*/ 5413722 w 11525111"/>
              <a:gd name="csY11" fmla="*/ 0 h 407718"/>
              <a:gd name="csX12" fmla="*/ 6111388 w 11525111"/>
              <a:gd name="csY12" fmla="*/ 0 h 407718"/>
              <a:gd name="csX13" fmla="*/ 6343698 w 11525111"/>
              <a:gd name="csY13" fmla="*/ 0 h 407718"/>
              <a:gd name="csX14" fmla="*/ 6801640 w 11525111"/>
              <a:gd name="csY14" fmla="*/ 0 h 407718"/>
              <a:gd name="csX15" fmla="*/ 7073607 w 11525111"/>
              <a:gd name="csY15" fmla="*/ 0 h 407718"/>
              <a:gd name="csX16" fmla="*/ 7416968 w 11525111"/>
              <a:gd name="csY16" fmla="*/ 0 h 407718"/>
              <a:gd name="csX17" fmla="*/ 7688936 w 11525111"/>
              <a:gd name="csY17" fmla="*/ 0 h 407718"/>
              <a:gd name="csX18" fmla="*/ 8146877 w 11525111"/>
              <a:gd name="csY18" fmla="*/ 0 h 407718"/>
              <a:gd name="csX19" fmla="*/ 8379187 w 11525111"/>
              <a:gd name="csY19" fmla="*/ 0 h 407718"/>
              <a:gd name="csX20" fmla="*/ 10382433 w 11525111"/>
              <a:gd name="csY20" fmla="*/ 0 h 407718"/>
              <a:gd name="csX21" fmla="*/ 10654401 w 11525111"/>
              <a:gd name="csY21" fmla="*/ 0 h 407718"/>
              <a:gd name="csX22" fmla="*/ 11112342 w 11525111"/>
              <a:gd name="csY22" fmla="*/ 0 h 407718"/>
              <a:gd name="csX23" fmla="*/ 11344652 w 11525111"/>
              <a:gd name="csY23" fmla="*/ 0 h 407718"/>
              <a:gd name="csX24" fmla="*/ 11392485 w 11525111"/>
              <a:gd name="csY24" fmla="*/ 22406 h 407718"/>
              <a:gd name="csX25" fmla="*/ 11510629 w 11525111"/>
              <a:gd name="csY25" fmla="*/ 163913 h 407718"/>
              <a:gd name="csX26" fmla="*/ 11510629 w 11525111"/>
              <a:gd name="csY26" fmla="*/ 243732 h 407718"/>
              <a:gd name="csX27" fmla="*/ 11392485 w 11525111"/>
              <a:gd name="csY27" fmla="*/ 385313 h 407718"/>
              <a:gd name="csX28" fmla="*/ 11344652 w 11525111"/>
              <a:gd name="csY28" fmla="*/ 407718 h 407718"/>
              <a:gd name="csX29" fmla="*/ 11112342 w 11525111"/>
              <a:gd name="csY29" fmla="*/ 407718 h 407718"/>
              <a:gd name="csX30" fmla="*/ 10654401 w 11525111"/>
              <a:gd name="csY30" fmla="*/ 407718 h 407718"/>
              <a:gd name="csX31" fmla="*/ 10382433 w 11525111"/>
              <a:gd name="csY31" fmla="*/ 407718 h 407718"/>
              <a:gd name="csX32" fmla="*/ 8379187 w 11525111"/>
              <a:gd name="csY32" fmla="*/ 407718 h 407718"/>
              <a:gd name="csX33" fmla="*/ 8146877 w 11525111"/>
              <a:gd name="csY33" fmla="*/ 407718 h 407718"/>
              <a:gd name="csX34" fmla="*/ 7688936 w 11525111"/>
              <a:gd name="csY34" fmla="*/ 407718 h 407718"/>
              <a:gd name="csX35" fmla="*/ 7416968 w 11525111"/>
              <a:gd name="csY35" fmla="*/ 407718 h 407718"/>
              <a:gd name="csX36" fmla="*/ 7073607 w 11525111"/>
              <a:gd name="csY36" fmla="*/ 407718 h 407718"/>
              <a:gd name="csX37" fmla="*/ 6801640 w 11525111"/>
              <a:gd name="csY37" fmla="*/ 407718 h 407718"/>
              <a:gd name="csX38" fmla="*/ 6343698 w 11525111"/>
              <a:gd name="csY38" fmla="*/ 407718 h 407718"/>
              <a:gd name="csX39" fmla="*/ 6111388 w 11525111"/>
              <a:gd name="csY39" fmla="*/ 407718 h 407718"/>
              <a:gd name="csX40" fmla="*/ 5413722 w 11525111"/>
              <a:gd name="csY40" fmla="*/ 407718 h 407718"/>
              <a:gd name="csX41" fmla="*/ 5181413 w 11525111"/>
              <a:gd name="csY41" fmla="*/ 407718 h 407718"/>
              <a:gd name="csX42" fmla="*/ 4723471 w 11525111"/>
              <a:gd name="csY42" fmla="*/ 407718 h 407718"/>
              <a:gd name="csX43" fmla="*/ 4451503 w 11525111"/>
              <a:gd name="csY43" fmla="*/ 407718 h 407718"/>
              <a:gd name="csX44" fmla="*/ 4108142 w 11525111"/>
              <a:gd name="csY44" fmla="*/ 407718 h 407718"/>
              <a:gd name="csX45" fmla="*/ 3836175 w 11525111"/>
              <a:gd name="csY45" fmla="*/ 407718 h 407718"/>
              <a:gd name="csX46" fmla="*/ 3378234 w 11525111"/>
              <a:gd name="csY46" fmla="*/ 407718 h 407718"/>
              <a:gd name="csX47" fmla="*/ 3145924 w 11525111"/>
              <a:gd name="csY47" fmla="*/ 407718 h 407718"/>
              <a:gd name="csX48" fmla="*/ 1142677 w 11525111"/>
              <a:gd name="csY48" fmla="*/ 407718 h 407718"/>
              <a:gd name="csX49" fmla="*/ 870710 w 11525111"/>
              <a:gd name="csY49" fmla="*/ 407718 h 407718"/>
              <a:gd name="csX50" fmla="*/ 412768 w 11525111"/>
              <a:gd name="csY50" fmla="*/ 407718 h 407718"/>
              <a:gd name="csX51" fmla="*/ 180458 w 11525111"/>
              <a:gd name="csY51" fmla="*/ 407718 h 407718"/>
              <a:gd name="csX52" fmla="*/ 132625 w 11525111"/>
              <a:gd name="csY52" fmla="*/ 385313 h 407718"/>
              <a:gd name="csX53" fmla="*/ 14481 w 11525111"/>
              <a:gd name="csY53" fmla="*/ 243732 h 407718"/>
              <a:gd name="csX54" fmla="*/ 14481 w 11525111"/>
              <a:gd name="csY54" fmla="*/ 163913 h 407718"/>
              <a:gd name="csX55" fmla="*/ 132625 w 11525111"/>
              <a:gd name="csY55" fmla="*/ 22406 h 407718"/>
              <a:gd name="csX56" fmla="*/ 180458 w 11525111"/>
              <a:gd name="csY56" fmla="*/ 0 h 4077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11525111" h="407718">
                <a:moveTo>
                  <a:pt x="180458" y="0"/>
                </a:moveTo>
                <a:lnTo>
                  <a:pt x="412768" y="0"/>
                </a:lnTo>
                <a:lnTo>
                  <a:pt x="870710" y="0"/>
                </a:lnTo>
                <a:lnTo>
                  <a:pt x="1142677" y="0"/>
                </a:lnTo>
                <a:lnTo>
                  <a:pt x="3145924" y="0"/>
                </a:lnTo>
                <a:lnTo>
                  <a:pt x="3378234" y="0"/>
                </a:lnTo>
                <a:lnTo>
                  <a:pt x="3836175" y="0"/>
                </a:lnTo>
                <a:lnTo>
                  <a:pt x="4108142" y="0"/>
                </a:lnTo>
                <a:lnTo>
                  <a:pt x="4451503" y="0"/>
                </a:lnTo>
                <a:lnTo>
                  <a:pt x="4723471" y="0"/>
                </a:lnTo>
                <a:lnTo>
                  <a:pt x="5181413" y="0"/>
                </a:lnTo>
                <a:lnTo>
                  <a:pt x="5413722" y="0"/>
                </a:lnTo>
                <a:lnTo>
                  <a:pt x="6111388" y="0"/>
                </a:lnTo>
                <a:lnTo>
                  <a:pt x="6343698" y="0"/>
                </a:lnTo>
                <a:lnTo>
                  <a:pt x="6801640" y="0"/>
                </a:lnTo>
                <a:lnTo>
                  <a:pt x="7073607" y="0"/>
                </a:lnTo>
                <a:lnTo>
                  <a:pt x="7416968" y="0"/>
                </a:lnTo>
                <a:lnTo>
                  <a:pt x="7688936" y="0"/>
                </a:lnTo>
                <a:lnTo>
                  <a:pt x="8146877" y="0"/>
                </a:lnTo>
                <a:lnTo>
                  <a:pt x="8379187" y="0"/>
                </a:lnTo>
                <a:lnTo>
                  <a:pt x="10382433" y="0"/>
                </a:lnTo>
                <a:lnTo>
                  <a:pt x="10654401" y="0"/>
                </a:lnTo>
                <a:lnTo>
                  <a:pt x="11112342" y="0"/>
                </a:lnTo>
                <a:lnTo>
                  <a:pt x="11344652" y="0"/>
                </a:lnTo>
                <a:cubicBezTo>
                  <a:pt x="11363077" y="0"/>
                  <a:pt x="11380619" y="8181"/>
                  <a:pt x="11392485" y="22406"/>
                </a:cubicBezTo>
                <a:lnTo>
                  <a:pt x="11510629" y="163913"/>
                </a:lnTo>
                <a:cubicBezTo>
                  <a:pt x="11529939" y="186982"/>
                  <a:pt x="11529939" y="220590"/>
                  <a:pt x="11510629" y="243732"/>
                </a:cubicBezTo>
                <a:lnTo>
                  <a:pt x="11392485" y="385313"/>
                </a:lnTo>
                <a:cubicBezTo>
                  <a:pt x="11380619" y="399538"/>
                  <a:pt x="11363151" y="407718"/>
                  <a:pt x="11344652" y="407718"/>
                </a:cubicBezTo>
                <a:lnTo>
                  <a:pt x="11112342" y="407718"/>
                </a:lnTo>
                <a:lnTo>
                  <a:pt x="10654401" y="407718"/>
                </a:lnTo>
                <a:lnTo>
                  <a:pt x="10382433" y="407718"/>
                </a:lnTo>
                <a:lnTo>
                  <a:pt x="8379187" y="407718"/>
                </a:lnTo>
                <a:lnTo>
                  <a:pt x="8146877" y="407718"/>
                </a:lnTo>
                <a:lnTo>
                  <a:pt x="7688936" y="407718"/>
                </a:lnTo>
                <a:lnTo>
                  <a:pt x="7416968" y="407718"/>
                </a:lnTo>
                <a:lnTo>
                  <a:pt x="7073607" y="407718"/>
                </a:lnTo>
                <a:lnTo>
                  <a:pt x="6801640" y="407718"/>
                </a:lnTo>
                <a:lnTo>
                  <a:pt x="6343698" y="407718"/>
                </a:lnTo>
                <a:lnTo>
                  <a:pt x="6111388" y="407718"/>
                </a:lnTo>
                <a:lnTo>
                  <a:pt x="5413722" y="407718"/>
                </a:lnTo>
                <a:lnTo>
                  <a:pt x="5181413" y="407718"/>
                </a:lnTo>
                <a:lnTo>
                  <a:pt x="4723471" y="407718"/>
                </a:lnTo>
                <a:lnTo>
                  <a:pt x="4451503" y="407718"/>
                </a:lnTo>
                <a:lnTo>
                  <a:pt x="4108142" y="407718"/>
                </a:lnTo>
                <a:lnTo>
                  <a:pt x="3836175" y="407718"/>
                </a:lnTo>
                <a:lnTo>
                  <a:pt x="3378234" y="407718"/>
                </a:lnTo>
                <a:lnTo>
                  <a:pt x="3145924" y="407718"/>
                </a:lnTo>
                <a:lnTo>
                  <a:pt x="1142677" y="407718"/>
                </a:lnTo>
                <a:lnTo>
                  <a:pt x="870710" y="407718"/>
                </a:lnTo>
                <a:lnTo>
                  <a:pt x="412768" y="407718"/>
                </a:lnTo>
                <a:lnTo>
                  <a:pt x="180458" y="407718"/>
                </a:lnTo>
                <a:cubicBezTo>
                  <a:pt x="161959" y="407718"/>
                  <a:pt x="144491" y="399538"/>
                  <a:pt x="132625" y="385313"/>
                </a:cubicBezTo>
                <a:lnTo>
                  <a:pt x="14481" y="243732"/>
                </a:lnTo>
                <a:cubicBezTo>
                  <a:pt x="-4828" y="220590"/>
                  <a:pt x="-4828" y="186982"/>
                  <a:pt x="14481" y="163913"/>
                </a:cubicBezTo>
                <a:lnTo>
                  <a:pt x="132625" y="22406"/>
                </a:lnTo>
                <a:cubicBezTo>
                  <a:pt x="144491" y="8181"/>
                  <a:pt x="162033" y="0"/>
                  <a:pt x="180458" y="0"/>
                </a:cubicBezTo>
                <a:close/>
              </a:path>
            </a:pathLst>
          </a:custGeom>
        </p:spPr>
        <p:style>
          <a:lnRef idx="0">
            <a:srgbClr val="FFFFFF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r>
              <a:rPr lang="zh-CN" altLang="en-US" b="1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0" scaled="0"/>
                </a:gradFill>
                <a:latin typeface="+mn-ea"/>
              </a:rPr>
              <a:t>临床研究验证了盐酸西替利嗪滴眼液极为安全</a:t>
            </a:r>
            <a:endParaRPr lang="zh-CN" altLang="en-US" b="1">
              <a:gradFill>
                <a:gsLst>
                  <a:gs pos="100000">
                    <a:schemeClr val="bg1"/>
                  </a:gs>
                  <a:gs pos="0">
                    <a:schemeClr val="bg1"/>
                  </a:gs>
                </a:gsLst>
                <a:lin ang="0" scaled="0"/>
              </a:gradFill>
              <a:latin typeface="+mn-ea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811530" y="4591685"/>
            <a:ext cx="4997450" cy="140208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150000"/>
              </a:lnSpc>
              <a:buClr>
                <a:srgbClr val="0971CA"/>
              </a:buClr>
            </a:pP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境外7项临床试验（</a:t>
            </a:r>
            <a:r>
              <a:rPr lang="en-US" altLang="zh-CN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n=511）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及国内</a:t>
            </a:r>
            <a:r>
              <a:rPr lang="en-US" altLang="zh-CN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III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期研究（</a:t>
            </a:r>
            <a:r>
              <a:rPr lang="en-US" altLang="zh-CN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n=155）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latin typeface="+mn-ea"/>
                <a:cs typeface="微软雅黑" panose="020B0503020204020204" pitchFamily="34" charset="-122"/>
              </a:rPr>
              <a:t>显示，不良反应以轻度一过性眼部充血、滴注部位短暂刺痛、视物模糊为主，发生率仅1%–7%，无1例严重或重度药物相关不良事件，无角膜损伤、眼压升高、严重过敏等风险</a:t>
            </a:r>
            <a:endParaRPr lang="zh-CN" altLang="en-US" sz="1400" b="1" dirty="0">
              <a:gradFill>
                <a:gsLst>
                  <a:gs pos="0">
                    <a:schemeClr val="tx1"/>
                  </a:gs>
                  <a:gs pos="50000">
                    <a:schemeClr val="tx1"/>
                  </a:gs>
                </a:gsLst>
                <a:lin ang="2700000" scaled="1"/>
              </a:gradFill>
              <a:latin typeface="+mn-ea"/>
              <a:cs typeface="微软雅黑" panose="020B0503020204020204" pitchFamily="34" charset="-122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7381745" y="4591738"/>
            <a:ext cx="3879981" cy="1457228"/>
            <a:chOff x="7678979" y="4469473"/>
            <a:chExt cx="3632223" cy="1494199"/>
          </a:xfrm>
        </p:grpSpPr>
        <p:pic>
          <p:nvPicPr>
            <p:cNvPr id="26" name="图片 25"/>
            <p:cNvPicPr>
              <a:picLocks noChangeAspect="1"/>
            </p:cNvPicPr>
            <p:nvPr/>
          </p:nvPicPr>
          <p:blipFill>
            <a:blip r:embed="rId1"/>
            <a:srcRect l="29461" t="8455" b="8377"/>
            <a:stretch>
              <a:fillRect/>
            </a:stretch>
          </p:blipFill>
          <p:spPr>
            <a:xfrm>
              <a:off x="8525601" y="4627042"/>
              <a:ext cx="2496103" cy="1127723"/>
            </a:xfrm>
            <a:prstGeom prst="rect">
              <a:avLst/>
            </a:prstGeom>
          </p:spPr>
        </p:pic>
        <p:sp>
          <p:nvSpPr>
            <p:cNvPr id="27" name="文本框 26"/>
            <p:cNvSpPr txBox="1"/>
            <p:nvPr/>
          </p:nvSpPr>
          <p:spPr>
            <a:xfrm>
              <a:off x="9641008" y="5712343"/>
              <a:ext cx="591959" cy="251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</a:t>
              </a:r>
              <a:r>
                <a:rPr kumimoji="0" lang="en-US" altLang="zh-CN" sz="100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kumimoji="0" lang="zh-CN" altLang="en-US" sz="100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10300959" y="5712343"/>
              <a:ext cx="591959" cy="251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</a:t>
              </a:r>
              <a:r>
                <a:rPr lang="en-US" altLang="zh-CN" sz="1000" kern="0"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kumimoji="0" lang="zh-CN" altLang="en-US" sz="100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8981056" y="5712343"/>
              <a:ext cx="591959" cy="251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</a:t>
              </a:r>
              <a:r>
                <a:rPr lang="en-US" altLang="zh-CN" sz="1000" kern="0"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kumimoji="0" lang="zh-CN" altLang="en-US" sz="100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50000">
                      <a:schemeClr val="tx1"/>
                    </a:gs>
                  </a:gsLst>
                  <a:lin ang="27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" name="组合 31"/>
            <p:cNvGrpSpPr/>
            <p:nvPr/>
          </p:nvGrpSpPr>
          <p:grpSpPr>
            <a:xfrm>
              <a:off x="7678979" y="4574075"/>
              <a:ext cx="637421" cy="1176680"/>
              <a:chOff x="7678979" y="4574075"/>
              <a:chExt cx="637421" cy="1176680"/>
            </a:xfrm>
          </p:grpSpPr>
          <p:sp>
            <p:nvSpPr>
              <p:cNvPr id="48" name="文本框 47"/>
              <p:cNvSpPr txBox="1"/>
              <p:nvPr/>
            </p:nvSpPr>
            <p:spPr>
              <a:xfrm>
                <a:off x="7678979" y="4574075"/>
                <a:ext cx="637421" cy="646331"/>
              </a:xfrm>
              <a:prstGeom prst="rect">
                <a:avLst/>
              </a:prstGeom>
              <a:solidFill>
                <a:srgbClr val="0971CA">
                  <a:alpha val="10000"/>
                </a:srgbClr>
              </a:solidFill>
            </p:spPr>
            <p:txBody>
              <a:bodyPr vert="horz" wrap="non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100" b="1" i="0" u="none" strike="noStrike" kern="0" cap="none" normalizeH="0" baseline="0" noProof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50000">
                          <a:schemeClr val="tx1"/>
                        </a:gs>
                      </a:gsLst>
                      <a:lin ang="27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非常</a:t>
                </a:r>
                <a:endParaRPr kumimoji="0" lang="en-US" altLang="zh-CN" sz="1100" b="1" i="0" u="none" strike="noStrike" kern="0" cap="none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100" b="1" i="0" u="none" strike="noStrike" kern="0" cap="none" normalizeH="0" baseline="0" noProof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50000">
                          <a:schemeClr val="tx1"/>
                        </a:gs>
                      </a:gsLst>
                      <a:lin ang="27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不舒适</a:t>
                </a:r>
                <a:endParaRPr kumimoji="0" lang="zh-CN" altLang="en-US" sz="1100" b="1" i="0" u="none" strike="noStrike" kern="0" cap="none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文本框 48"/>
              <p:cNvSpPr txBox="1"/>
              <p:nvPr/>
            </p:nvSpPr>
            <p:spPr>
              <a:xfrm>
                <a:off x="7678979" y="5218143"/>
                <a:ext cx="637421" cy="532612"/>
              </a:xfrm>
              <a:prstGeom prst="rect">
                <a:avLst/>
              </a:prstGeom>
              <a:solidFill>
                <a:srgbClr val="E1007F">
                  <a:alpha val="10000"/>
                </a:srgbClr>
              </a:solidFill>
            </p:spPr>
            <p:txBody>
              <a:bodyPr vert="horz" wrap="non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100" b="1" i="0" u="none" strike="noStrike" kern="0" cap="none" normalizeH="0" baseline="0" noProof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50000">
                          <a:schemeClr val="tx1"/>
                        </a:gs>
                      </a:gsLst>
                      <a:lin ang="27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非常</a:t>
                </a:r>
                <a:endParaRPr kumimoji="0" lang="zh-CN" altLang="en-US" sz="1100" b="1" i="0" u="none" strike="noStrike" kern="0" cap="none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100" b="1" i="0" u="none" strike="noStrike" kern="0" cap="none" normalizeH="0" baseline="0" noProof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50000">
                          <a:schemeClr val="tx1"/>
                        </a:gs>
                      </a:gsLst>
                      <a:lin ang="27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舒适</a:t>
                </a:r>
                <a:endParaRPr kumimoji="0" lang="zh-CN" altLang="en-US" sz="1100" b="1" i="0" u="none" strike="noStrike" kern="0" cap="none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50000">
                        <a:schemeClr val="tx1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9559893" y="4469473"/>
              <a:ext cx="1751309" cy="631267"/>
              <a:chOff x="9707237" y="4556473"/>
              <a:chExt cx="1751309" cy="631267"/>
            </a:xfrm>
          </p:grpSpPr>
          <p:grpSp>
            <p:nvGrpSpPr>
              <p:cNvPr id="36" name="组合 35"/>
              <p:cNvGrpSpPr/>
              <p:nvPr/>
            </p:nvGrpSpPr>
            <p:grpSpPr>
              <a:xfrm>
                <a:off x="9707237" y="4906878"/>
                <a:ext cx="1056468" cy="280862"/>
                <a:chOff x="10500970" y="4179359"/>
                <a:chExt cx="1056468" cy="280862"/>
              </a:xfrm>
            </p:grpSpPr>
            <p:sp>
              <p:nvSpPr>
                <p:cNvPr id="43" name="椭圆 42"/>
                <p:cNvSpPr/>
                <p:nvPr/>
              </p:nvSpPr>
              <p:spPr>
                <a:xfrm>
                  <a:off x="10500970" y="4179359"/>
                  <a:ext cx="280862" cy="280862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rgbClr val="CC0066"/>
                  </a:solidFill>
                  <a:prstDash val="dash"/>
                  <a:round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44" name="组合 43"/>
                <p:cNvGrpSpPr/>
                <p:nvPr/>
              </p:nvGrpSpPr>
              <p:grpSpPr>
                <a:xfrm>
                  <a:off x="10544177" y="4290166"/>
                  <a:ext cx="200110" cy="59249"/>
                  <a:chOff x="11805520" y="4108106"/>
                  <a:chExt cx="349554" cy="103497"/>
                </a:xfrm>
              </p:grpSpPr>
              <p:cxnSp>
                <p:nvCxnSpPr>
                  <p:cNvPr id="46" name="直接连接符 45"/>
                  <p:cNvCxnSpPr/>
                  <p:nvPr/>
                </p:nvCxnSpPr>
                <p:spPr>
                  <a:xfrm>
                    <a:off x="11805520" y="4157733"/>
                    <a:ext cx="349554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7" name="椭圆 46"/>
                  <p:cNvSpPr/>
                  <p:nvPr/>
                </p:nvSpPr>
                <p:spPr>
                  <a:xfrm>
                    <a:off x="11925940" y="4108106"/>
                    <a:ext cx="108714" cy="103497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sp>
              <p:nvSpPr>
                <p:cNvPr id="45" name="文本框 44"/>
                <p:cNvSpPr txBox="1"/>
                <p:nvPr/>
              </p:nvSpPr>
              <p:spPr>
                <a:xfrm>
                  <a:off x="10831233" y="4204544"/>
                  <a:ext cx="726205" cy="230493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 anchor="ctr">
                  <a:spAutoFit/>
                </a:bodyPr>
                <a:lstStyle/>
                <a:p>
                  <a:r>
                    <a:rPr lang="zh-CN" altLang="en-US" sz="10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lin ang="0" scaled="0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溶媒组</a:t>
                  </a:r>
                  <a:endParaRPr lang="zh-CN" altLang="en-US" sz="10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37" name="组合 36"/>
              <p:cNvGrpSpPr/>
              <p:nvPr/>
            </p:nvGrpSpPr>
            <p:grpSpPr>
              <a:xfrm>
                <a:off x="9707237" y="4556473"/>
                <a:ext cx="1751309" cy="280862"/>
                <a:chOff x="10500970" y="3676405"/>
                <a:chExt cx="1751309" cy="280862"/>
              </a:xfrm>
            </p:grpSpPr>
            <p:sp>
              <p:nvSpPr>
                <p:cNvPr id="38" name="椭圆 37"/>
                <p:cNvSpPr/>
                <p:nvPr/>
              </p:nvSpPr>
              <p:spPr>
                <a:xfrm>
                  <a:off x="10500970" y="3676405"/>
                  <a:ext cx="280862" cy="280862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rgbClr val="CC0066"/>
                  </a:solidFill>
                  <a:prstDash val="dash"/>
                  <a:round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39" name="文本框 38"/>
                <p:cNvSpPr txBox="1"/>
                <p:nvPr/>
              </p:nvSpPr>
              <p:spPr>
                <a:xfrm>
                  <a:off x="10831170" y="3701591"/>
                  <a:ext cx="1421109" cy="230493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 anchor="ctr">
                  <a:spAutoFit/>
                </a:bodyPr>
                <a:lstStyle/>
                <a:p>
                  <a:r>
                    <a:rPr lang="zh-CN" altLang="en-US" sz="10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lin ang="0" scaled="0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盐酸西替利嗪滴眼液</a:t>
                  </a:r>
                  <a:endParaRPr lang="zh-CN" altLang="en-US" sz="10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10542439" y="3780832"/>
                  <a:ext cx="203090" cy="72008"/>
                  <a:chOff x="11797202" y="3818639"/>
                  <a:chExt cx="349554" cy="123940"/>
                </a:xfrm>
              </p:grpSpPr>
              <p:cxnSp>
                <p:nvCxnSpPr>
                  <p:cNvPr id="41" name="直接连接符 40"/>
                  <p:cNvCxnSpPr/>
                  <p:nvPr/>
                </p:nvCxnSpPr>
                <p:spPr>
                  <a:xfrm>
                    <a:off x="11797202" y="3880609"/>
                    <a:ext cx="349554" cy="0"/>
                  </a:xfrm>
                  <a:prstGeom prst="line">
                    <a:avLst/>
                  </a:prstGeom>
                  <a:ln>
                    <a:solidFill>
                      <a:srgbClr val="0702FB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2" name="矩形 41"/>
                  <p:cNvSpPr/>
                  <p:nvPr/>
                </p:nvSpPr>
                <p:spPr>
                  <a:xfrm>
                    <a:off x="11917622" y="3818639"/>
                    <a:ext cx="108715" cy="123940"/>
                  </a:xfrm>
                  <a:prstGeom prst="rect">
                    <a:avLst/>
                  </a:prstGeom>
                  <a:solidFill>
                    <a:srgbClr val="0702FB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</p:grpSp>
        </p:grpSp>
      </p:grpSp>
      <p:cxnSp>
        <p:nvCxnSpPr>
          <p:cNvPr id="50" name="直接连接符 49"/>
          <p:cNvCxnSpPr/>
          <p:nvPr/>
        </p:nvCxnSpPr>
        <p:spPr>
          <a:xfrm>
            <a:off x="6096000" y="4681620"/>
            <a:ext cx="0" cy="1347299"/>
          </a:xfrm>
          <a:prstGeom prst="line">
            <a:avLst/>
          </a:prstGeom>
          <a:ln>
            <a:gradFill>
              <a:gsLst>
                <a:gs pos="50000">
                  <a:srgbClr val="537CCE"/>
                </a:gs>
                <a:gs pos="100000">
                  <a:srgbClr val="5D84D1">
                    <a:alpha val="0"/>
                  </a:srgbClr>
                </a:gs>
                <a:gs pos="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椭圆 50"/>
          <p:cNvSpPr/>
          <p:nvPr/>
        </p:nvSpPr>
        <p:spPr>
          <a:xfrm>
            <a:off x="6256021" y="4910754"/>
            <a:ext cx="819197" cy="819197"/>
          </a:xfrm>
          <a:prstGeom prst="ellipse">
            <a:avLst/>
          </a:prstGeom>
          <a:solidFill>
            <a:srgbClr val="0971CA"/>
          </a:solidFill>
          <a:ln w="57150">
            <a:solidFill>
              <a:srgbClr val="0971CA">
                <a:alpha val="2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rPr>
              <a:t>眼部</a:t>
            </a:r>
            <a:endParaRPr lang="en-US" altLang="zh-CN" sz="1400" b="1">
              <a:gradFill>
                <a:gsLst>
                  <a:gs pos="200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</a:endParaRPr>
          </a:p>
          <a:p>
            <a:pPr algn="ctr"/>
            <a:r>
              <a:rPr lang="zh-CN" altLang="en-US" sz="1400" b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rPr>
              <a:t>舒适度</a:t>
            </a:r>
            <a:endParaRPr lang="zh-CN" altLang="en-US" sz="1400" b="1">
              <a:gradFill>
                <a:gsLst>
                  <a:gs pos="200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311150" y="6655711"/>
            <a:ext cx="11442700" cy="20255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Blurred Lines:The Interaction and Overlap of Ocular Allergy and Dry Eye,Ophthalmology360,2025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（与干眼联用优势综述） *美国处方专利（</a:t>
            </a: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US9254286B2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）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091690" y="164149"/>
            <a:ext cx="9725660" cy="82994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en-US" altLang="zh-CN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FDA</a:t>
            </a: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时隔</a:t>
            </a:r>
            <a:r>
              <a:rPr lang="en-US" altLang="zh-CN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10</a:t>
            </a: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年首个全新分子抗过敏滴眼液；通过独特的胶束技术</a:t>
            </a:r>
            <a:r>
              <a:rPr lang="zh-CN" altLang="en-US" sz="2400" b="1">
                <a:gradFill>
                  <a:gsLst>
                    <a:gs pos="85000">
                      <a:schemeClr val="tx1"/>
                    </a:gs>
                    <a:gs pos="99000">
                      <a:schemeClr val="tx1"/>
                    </a:gs>
                  </a:gsLst>
                  <a:lin ang="0" scaled="0"/>
                </a:gradFill>
                <a:latin typeface="+mn-ea"/>
                <a:sym typeface="+mn-ea"/>
              </a:rPr>
              <a:t>（专利</a:t>
            </a:r>
            <a:r>
              <a:rPr lang="en-US" altLang="zh-CN" sz="2400" b="1">
                <a:gradFill>
                  <a:gsLst>
                    <a:gs pos="85000">
                      <a:schemeClr val="tx1"/>
                    </a:gs>
                    <a:gs pos="99000">
                      <a:schemeClr val="tx1"/>
                    </a:gs>
                  </a:gsLst>
                  <a:lin ang="0" scaled="0"/>
                </a:gradFill>
                <a:latin typeface="+mn-ea"/>
                <a:sym typeface="+mn-ea"/>
              </a:rPr>
              <a:t>US9254286B2</a:t>
            </a:r>
            <a:r>
              <a:rPr lang="zh-CN" altLang="en-US" sz="2400" b="1">
                <a:gradFill>
                  <a:gsLst>
                    <a:gs pos="85000">
                      <a:schemeClr val="tx1"/>
                    </a:gs>
                    <a:gs pos="99000">
                      <a:schemeClr val="tx1"/>
                    </a:gs>
                  </a:gsLst>
                  <a:lin ang="0" scaled="0"/>
                </a:gradFill>
                <a:latin typeface="+mn-ea"/>
                <a:sym typeface="+mn-ea"/>
              </a:rPr>
              <a:t>）</a:t>
            </a:r>
            <a:r>
              <a:rPr lang="zh-CN" altLang="en-US" sz="2400" b="1">
                <a:gradFill>
                  <a:gsLst>
                    <a:gs pos="5000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实现创新升级</a:t>
            </a:r>
            <a:endParaRPr lang="zh-CN" altLang="en-US" sz="2400" b="1">
              <a:gradFill>
                <a:gsLst>
                  <a:gs pos="5000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-8890" y="225425"/>
            <a:ext cx="2072005" cy="706755"/>
            <a:chOff x="-8890" y="225425"/>
            <a:chExt cx="2072005" cy="706755"/>
          </a:xfrm>
        </p:grpSpPr>
        <p:sp>
          <p:nvSpPr>
            <p:cNvPr id="25" name="任意多边形: 形状 24"/>
            <p:cNvSpPr/>
            <p:nvPr/>
          </p:nvSpPr>
          <p:spPr>
            <a:xfrm rot="10800000" flipH="1">
              <a:off x="0" y="225425"/>
              <a:ext cx="2063115" cy="706755"/>
            </a:xfrm>
            <a:custGeom>
              <a:avLst/>
              <a:gdLst>
                <a:gd name="csX0" fmla="*/ 0 w 2063115"/>
                <a:gd name="csY0" fmla="*/ 706755 h 706755"/>
                <a:gd name="csX1" fmla="*/ 1750340 w 2063115"/>
                <a:gd name="csY1" fmla="*/ 706755 h 706755"/>
                <a:gd name="csX2" fmla="*/ 1833245 w 2063115"/>
                <a:gd name="csY2" fmla="*/ 667917 h 706755"/>
                <a:gd name="csX3" fmla="*/ 2038014 w 2063115"/>
                <a:gd name="csY3" fmla="*/ 422494 h 706755"/>
                <a:gd name="csX4" fmla="*/ 2038014 w 2063115"/>
                <a:gd name="csY4" fmla="*/ 284133 h 706755"/>
                <a:gd name="csX5" fmla="*/ 1833245 w 2063115"/>
                <a:gd name="csY5" fmla="*/ 38838 h 706755"/>
                <a:gd name="csX6" fmla="*/ 1750340 w 2063115"/>
                <a:gd name="csY6" fmla="*/ 0 h 706755"/>
                <a:gd name="csX7" fmla="*/ 0 w 2063115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063115" h="706755">
                  <a:moveTo>
                    <a:pt x="0" y="706755"/>
                  </a:moveTo>
                  <a:lnTo>
                    <a:pt x="1750340" y="706755"/>
                  </a:lnTo>
                  <a:cubicBezTo>
                    <a:pt x="1782403" y="706755"/>
                    <a:pt x="1812678" y="692573"/>
                    <a:pt x="1833245" y="667917"/>
                  </a:cubicBezTo>
                  <a:lnTo>
                    <a:pt x="2038014" y="422494"/>
                  </a:lnTo>
                  <a:cubicBezTo>
                    <a:pt x="2071482" y="382379"/>
                    <a:pt x="2071482" y="324121"/>
                    <a:pt x="2038014" y="284133"/>
                  </a:cubicBezTo>
                  <a:lnTo>
                    <a:pt x="1833245" y="38838"/>
                  </a:lnTo>
                  <a:cubicBezTo>
                    <a:pt x="1812678" y="14181"/>
                    <a:pt x="1782276" y="0"/>
                    <a:pt x="1750340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26" name="任意多边形: 形状 25"/>
            <p:cNvSpPr/>
            <p:nvPr/>
          </p:nvSpPr>
          <p:spPr>
            <a:xfrm rot="10800000" flipH="1">
              <a:off x="-1" y="225425"/>
              <a:ext cx="1941830" cy="706755"/>
            </a:xfrm>
            <a:custGeom>
              <a:avLst/>
              <a:gdLst>
                <a:gd name="csX0" fmla="*/ 0 w 1941830"/>
                <a:gd name="csY0" fmla="*/ 706755 h 706755"/>
                <a:gd name="csX1" fmla="*/ 1629046 w 1941830"/>
                <a:gd name="csY1" fmla="*/ 706755 h 706755"/>
                <a:gd name="csX2" fmla="*/ 1711954 w 1941830"/>
                <a:gd name="csY2" fmla="*/ 667917 h 706755"/>
                <a:gd name="csX3" fmla="*/ 1916729 w 1941830"/>
                <a:gd name="csY3" fmla="*/ 422494 h 706755"/>
                <a:gd name="csX4" fmla="*/ 1916729 w 1941830"/>
                <a:gd name="csY4" fmla="*/ 284133 h 706755"/>
                <a:gd name="csX5" fmla="*/ 1711954 w 1941830"/>
                <a:gd name="csY5" fmla="*/ 38838 h 706755"/>
                <a:gd name="csX6" fmla="*/ 1629046 w 1941830"/>
                <a:gd name="csY6" fmla="*/ 0 h 706755"/>
                <a:gd name="csX7" fmla="*/ 0 w 1941830"/>
                <a:gd name="csY7" fmla="*/ 0 h 70675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1941830" h="706755">
                  <a:moveTo>
                    <a:pt x="0" y="706755"/>
                  </a:moveTo>
                  <a:lnTo>
                    <a:pt x="1629046" y="706755"/>
                  </a:lnTo>
                  <a:cubicBezTo>
                    <a:pt x="1661110" y="706755"/>
                    <a:pt x="1691386" y="692573"/>
                    <a:pt x="1711954" y="667917"/>
                  </a:cubicBezTo>
                  <a:lnTo>
                    <a:pt x="1916729" y="422494"/>
                  </a:lnTo>
                  <a:cubicBezTo>
                    <a:pt x="1950197" y="382379"/>
                    <a:pt x="1950197" y="324121"/>
                    <a:pt x="1916729" y="284133"/>
                  </a:cubicBezTo>
                  <a:lnTo>
                    <a:pt x="1711954" y="38838"/>
                  </a:lnTo>
                  <a:cubicBezTo>
                    <a:pt x="1691386" y="14181"/>
                    <a:pt x="1660983" y="0"/>
                    <a:pt x="1629046" y="0"/>
                  </a:cubicBez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endParaRPr lang="zh-CN" altLang="en-US" i="1"/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-8890" y="337820"/>
              <a:ext cx="1787525" cy="46164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创新性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6303271" y="1240146"/>
            <a:ext cx="5456248" cy="426406"/>
            <a:chOff x="6361101" y="1146990"/>
            <a:chExt cx="5456248" cy="426406"/>
          </a:xfrm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grpSpPr>
        <p:grpSp>
          <p:nvGrpSpPr>
            <p:cNvPr id="30" name="组合 29"/>
            <p:cNvGrpSpPr/>
            <p:nvPr/>
          </p:nvGrpSpPr>
          <p:grpSpPr>
            <a:xfrm>
              <a:off x="6361101" y="1146990"/>
              <a:ext cx="5456248" cy="426406"/>
              <a:chOff x="372109" y="1146990"/>
              <a:chExt cx="5456248" cy="426406"/>
            </a:xfrm>
          </p:grpSpPr>
          <p:sp>
            <p:nvSpPr>
              <p:cNvPr id="31" name="任意多边形: 形状 30"/>
              <p:cNvSpPr/>
              <p:nvPr/>
            </p:nvSpPr>
            <p:spPr>
              <a:xfrm flipH="1">
                <a:off x="372109" y="1146990"/>
                <a:ext cx="5456248" cy="426406"/>
              </a:xfrm>
              <a:custGeom>
                <a:avLst/>
                <a:gdLst>
                  <a:gd name="csX0" fmla="*/ 5263972 w 5456248"/>
                  <a:gd name="csY0" fmla="*/ 0 h 426406"/>
                  <a:gd name="csX1" fmla="*/ 5173810 w 5456248"/>
                  <a:gd name="csY1" fmla="*/ 0 h 426406"/>
                  <a:gd name="csX2" fmla="*/ 5053544 w 5456248"/>
                  <a:gd name="csY2" fmla="*/ 0 h 426406"/>
                  <a:gd name="csX3" fmla="*/ 4963382 w 5456248"/>
                  <a:gd name="csY3" fmla="*/ 0 h 426406"/>
                  <a:gd name="csX4" fmla="*/ 4893557 w 5456248"/>
                  <a:gd name="csY4" fmla="*/ 0 h 426406"/>
                  <a:gd name="csX5" fmla="*/ 4803395 w 5456248"/>
                  <a:gd name="csY5" fmla="*/ 0 h 426406"/>
                  <a:gd name="csX6" fmla="*/ 4683129 w 5456248"/>
                  <a:gd name="csY6" fmla="*/ 0 h 426406"/>
                  <a:gd name="csX7" fmla="*/ 4603781 w 5456248"/>
                  <a:gd name="csY7" fmla="*/ 0 h 426406"/>
                  <a:gd name="csX8" fmla="*/ 4592967 w 5456248"/>
                  <a:gd name="csY8" fmla="*/ 0 h 426406"/>
                  <a:gd name="csX9" fmla="*/ 4528524 w 5456248"/>
                  <a:gd name="csY9" fmla="*/ 0 h 426406"/>
                  <a:gd name="csX10" fmla="*/ 4513619 w 5456248"/>
                  <a:gd name="csY10" fmla="*/ 0 h 426406"/>
                  <a:gd name="csX11" fmla="*/ 4438362 w 5456248"/>
                  <a:gd name="csY11" fmla="*/ 0 h 426406"/>
                  <a:gd name="csX12" fmla="*/ 4393353 w 5456248"/>
                  <a:gd name="csY12" fmla="*/ 0 h 426406"/>
                  <a:gd name="csX13" fmla="*/ 4318096 w 5456248"/>
                  <a:gd name="csY13" fmla="*/ 0 h 426406"/>
                  <a:gd name="csX14" fmla="*/ 4303191 w 5456248"/>
                  <a:gd name="csY14" fmla="*/ 0 h 426406"/>
                  <a:gd name="csX15" fmla="*/ 4238748 w 5456248"/>
                  <a:gd name="csY15" fmla="*/ 0 h 426406"/>
                  <a:gd name="csX16" fmla="*/ 4227934 w 5456248"/>
                  <a:gd name="csY16" fmla="*/ 0 h 426406"/>
                  <a:gd name="csX17" fmla="*/ 4148586 w 5456248"/>
                  <a:gd name="csY17" fmla="*/ 0 h 426406"/>
                  <a:gd name="csX18" fmla="*/ 4028320 w 5456248"/>
                  <a:gd name="csY18" fmla="*/ 0 h 426406"/>
                  <a:gd name="csX19" fmla="*/ 3938158 w 5456248"/>
                  <a:gd name="csY19" fmla="*/ 0 h 426406"/>
                  <a:gd name="csX20" fmla="*/ 1518090 w 5456248"/>
                  <a:gd name="csY20" fmla="*/ 0 h 426406"/>
                  <a:gd name="csX21" fmla="*/ 1427928 w 5456248"/>
                  <a:gd name="csY21" fmla="*/ 0 h 426406"/>
                  <a:gd name="csX22" fmla="*/ 1307662 w 5456248"/>
                  <a:gd name="csY22" fmla="*/ 0 h 426406"/>
                  <a:gd name="csX23" fmla="*/ 1228315 w 5456248"/>
                  <a:gd name="csY23" fmla="*/ 0 h 426406"/>
                  <a:gd name="csX24" fmla="*/ 1217500 w 5456248"/>
                  <a:gd name="csY24" fmla="*/ 0 h 426406"/>
                  <a:gd name="csX25" fmla="*/ 1153057 w 5456248"/>
                  <a:gd name="csY25" fmla="*/ 0 h 426406"/>
                  <a:gd name="csX26" fmla="*/ 1138153 w 5456248"/>
                  <a:gd name="csY26" fmla="*/ 0 h 426406"/>
                  <a:gd name="csX27" fmla="*/ 1062895 w 5456248"/>
                  <a:gd name="csY27" fmla="*/ 0 h 426406"/>
                  <a:gd name="csX28" fmla="*/ 1017887 w 5456248"/>
                  <a:gd name="csY28" fmla="*/ 0 h 426406"/>
                  <a:gd name="csX29" fmla="*/ 942629 w 5456248"/>
                  <a:gd name="csY29" fmla="*/ 0 h 426406"/>
                  <a:gd name="csX30" fmla="*/ 927725 w 5456248"/>
                  <a:gd name="csY30" fmla="*/ 0 h 426406"/>
                  <a:gd name="csX31" fmla="*/ 863282 w 5456248"/>
                  <a:gd name="csY31" fmla="*/ 0 h 426406"/>
                  <a:gd name="csX32" fmla="*/ 852467 w 5456248"/>
                  <a:gd name="csY32" fmla="*/ 0 h 426406"/>
                  <a:gd name="csX33" fmla="*/ 773120 w 5456248"/>
                  <a:gd name="csY33" fmla="*/ 0 h 426406"/>
                  <a:gd name="csX34" fmla="*/ 652854 w 5456248"/>
                  <a:gd name="csY34" fmla="*/ 0 h 426406"/>
                  <a:gd name="csX35" fmla="*/ 562692 w 5456248"/>
                  <a:gd name="csY35" fmla="*/ 0 h 426406"/>
                  <a:gd name="csX36" fmla="*/ 492866 w 5456248"/>
                  <a:gd name="csY36" fmla="*/ 0 h 426406"/>
                  <a:gd name="csX37" fmla="*/ 402704 w 5456248"/>
                  <a:gd name="csY37" fmla="*/ 0 h 426406"/>
                  <a:gd name="csX38" fmla="*/ 282438 w 5456248"/>
                  <a:gd name="csY38" fmla="*/ 0 h 426406"/>
                  <a:gd name="csX39" fmla="*/ 192276 w 5456248"/>
                  <a:gd name="csY39" fmla="*/ 0 h 426406"/>
                  <a:gd name="csX40" fmla="*/ 141311 w 5456248"/>
                  <a:gd name="csY40" fmla="*/ 23432 h 426406"/>
                  <a:gd name="csX41" fmla="*/ 15431 w 5456248"/>
                  <a:gd name="csY41" fmla="*/ 171425 h 426406"/>
                  <a:gd name="csX42" fmla="*/ 0 w 5456248"/>
                  <a:gd name="csY42" fmla="*/ 213135 h 426406"/>
                  <a:gd name="csX43" fmla="*/ 0 w 5456248"/>
                  <a:gd name="csY43" fmla="*/ 213136 h 426406"/>
                  <a:gd name="csX44" fmla="*/ 15431 w 5456248"/>
                  <a:gd name="csY44" fmla="*/ 254903 h 426406"/>
                  <a:gd name="csX45" fmla="*/ 141311 w 5456248"/>
                  <a:gd name="csY45" fmla="*/ 402974 h 426406"/>
                  <a:gd name="csX46" fmla="*/ 192276 w 5456248"/>
                  <a:gd name="csY46" fmla="*/ 426406 h 426406"/>
                  <a:gd name="csX47" fmla="*/ 282438 w 5456248"/>
                  <a:gd name="csY47" fmla="*/ 426406 h 426406"/>
                  <a:gd name="csX48" fmla="*/ 402704 w 5456248"/>
                  <a:gd name="csY48" fmla="*/ 426406 h 426406"/>
                  <a:gd name="csX49" fmla="*/ 492866 w 5456248"/>
                  <a:gd name="csY49" fmla="*/ 426406 h 426406"/>
                  <a:gd name="csX50" fmla="*/ 562692 w 5456248"/>
                  <a:gd name="csY50" fmla="*/ 426406 h 426406"/>
                  <a:gd name="csX51" fmla="*/ 652854 w 5456248"/>
                  <a:gd name="csY51" fmla="*/ 426406 h 426406"/>
                  <a:gd name="csX52" fmla="*/ 773120 w 5456248"/>
                  <a:gd name="csY52" fmla="*/ 426406 h 426406"/>
                  <a:gd name="csX53" fmla="*/ 852467 w 5456248"/>
                  <a:gd name="csY53" fmla="*/ 426406 h 426406"/>
                  <a:gd name="csX54" fmla="*/ 863282 w 5456248"/>
                  <a:gd name="csY54" fmla="*/ 426406 h 426406"/>
                  <a:gd name="csX55" fmla="*/ 927725 w 5456248"/>
                  <a:gd name="csY55" fmla="*/ 426406 h 426406"/>
                  <a:gd name="csX56" fmla="*/ 942629 w 5456248"/>
                  <a:gd name="csY56" fmla="*/ 426406 h 426406"/>
                  <a:gd name="csX57" fmla="*/ 1017887 w 5456248"/>
                  <a:gd name="csY57" fmla="*/ 426406 h 426406"/>
                  <a:gd name="csX58" fmla="*/ 1062895 w 5456248"/>
                  <a:gd name="csY58" fmla="*/ 426406 h 426406"/>
                  <a:gd name="csX59" fmla="*/ 1138153 w 5456248"/>
                  <a:gd name="csY59" fmla="*/ 426406 h 426406"/>
                  <a:gd name="csX60" fmla="*/ 1153057 w 5456248"/>
                  <a:gd name="csY60" fmla="*/ 426406 h 426406"/>
                  <a:gd name="csX61" fmla="*/ 1217500 w 5456248"/>
                  <a:gd name="csY61" fmla="*/ 426406 h 426406"/>
                  <a:gd name="csX62" fmla="*/ 1228315 w 5456248"/>
                  <a:gd name="csY62" fmla="*/ 426406 h 426406"/>
                  <a:gd name="csX63" fmla="*/ 1307662 w 5456248"/>
                  <a:gd name="csY63" fmla="*/ 426406 h 426406"/>
                  <a:gd name="csX64" fmla="*/ 1427928 w 5456248"/>
                  <a:gd name="csY64" fmla="*/ 426406 h 426406"/>
                  <a:gd name="csX65" fmla="*/ 1518090 w 5456248"/>
                  <a:gd name="csY65" fmla="*/ 426406 h 426406"/>
                  <a:gd name="csX66" fmla="*/ 3938158 w 5456248"/>
                  <a:gd name="csY66" fmla="*/ 426406 h 426406"/>
                  <a:gd name="csX67" fmla="*/ 4028320 w 5456248"/>
                  <a:gd name="csY67" fmla="*/ 426406 h 426406"/>
                  <a:gd name="csX68" fmla="*/ 4148586 w 5456248"/>
                  <a:gd name="csY68" fmla="*/ 426406 h 426406"/>
                  <a:gd name="csX69" fmla="*/ 4227934 w 5456248"/>
                  <a:gd name="csY69" fmla="*/ 426406 h 426406"/>
                  <a:gd name="csX70" fmla="*/ 4238748 w 5456248"/>
                  <a:gd name="csY70" fmla="*/ 426406 h 426406"/>
                  <a:gd name="csX71" fmla="*/ 4303191 w 5456248"/>
                  <a:gd name="csY71" fmla="*/ 426406 h 426406"/>
                  <a:gd name="csX72" fmla="*/ 4318096 w 5456248"/>
                  <a:gd name="csY72" fmla="*/ 426406 h 426406"/>
                  <a:gd name="csX73" fmla="*/ 4393353 w 5456248"/>
                  <a:gd name="csY73" fmla="*/ 426406 h 426406"/>
                  <a:gd name="csX74" fmla="*/ 4438362 w 5456248"/>
                  <a:gd name="csY74" fmla="*/ 426406 h 426406"/>
                  <a:gd name="csX75" fmla="*/ 4513619 w 5456248"/>
                  <a:gd name="csY75" fmla="*/ 426406 h 426406"/>
                  <a:gd name="csX76" fmla="*/ 4528524 w 5456248"/>
                  <a:gd name="csY76" fmla="*/ 426406 h 426406"/>
                  <a:gd name="csX77" fmla="*/ 4592967 w 5456248"/>
                  <a:gd name="csY77" fmla="*/ 426406 h 426406"/>
                  <a:gd name="csX78" fmla="*/ 4603781 w 5456248"/>
                  <a:gd name="csY78" fmla="*/ 426406 h 426406"/>
                  <a:gd name="csX79" fmla="*/ 4683129 w 5456248"/>
                  <a:gd name="csY79" fmla="*/ 426406 h 426406"/>
                  <a:gd name="csX80" fmla="*/ 4803395 w 5456248"/>
                  <a:gd name="csY80" fmla="*/ 426406 h 426406"/>
                  <a:gd name="csX81" fmla="*/ 4893557 w 5456248"/>
                  <a:gd name="csY81" fmla="*/ 426406 h 426406"/>
                  <a:gd name="csX82" fmla="*/ 4963382 w 5456248"/>
                  <a:gd name="csY82" fmla="*/ 426406 h 426406"/>
                  <a:gd name="csX83" fmla="*/ 5053544 w 5456248"/>
                  <a:gd name="csY83" fmla="*/ 426406 h 426406"/>
                  <a:gd name="csX84" fmla="*/ 5173810 w 5456248"/>
                  <a:gd name="csY84" fmla="*/ 426406 h 426406"/>
                  <a:gd name="csX85" fmla="*/ 5263972 w 5456248"/>
                  <a:gd name="csY85" fmla="*/ 426406 h 426406"/>
                  <a:gd name="csX86" fmla="*/ 5314937 w 5456248"/>
                  <a:gd name="csY86" fmla="*/ 402974 h 426406"/>
                  <a:gd name="csX87" fmla="*/ 5440817 w 5456248"/>
                  <a:gd name="csY87" fmla="*/ 254903 h 426406"/>
                  <a:gd name="csX88" fmla="*/ 5456248 w 5456248"/>
                  <a:gd name="csY88" fmla="*/ 213136 h 426406"/>
                  <a:gd name="csX89" fmla="*/ 5456248 w 5456248"/>
                  <a:gd name="csY89" fmla="*/ 213135 h 426406"/>
                  <a:gd name="csX90" fmla="*/ 5440817 w 5456248"/>
                  <a:gd name="csY90" fmla="*/ 171425 h 426406"/>
                  <a:gd name="csX91" fmla="*/ 5314937 w 5456248"/>
                  <a:gd name="csY91" fmla="*/ 23432 h 426406"/>
                  <a:gd name="csX92" fmla="*/ 5263972 w 5456248"/>
                  <a:gd name="csY92" fmla="*/ 0 h 4264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  <a:cxn ang="0">
                    <a:pos x="csX90" y="csY90"/>
                  </a:cxn>
                  <a:cxn ang="0">
                    <a:pos x="csX91" y="csY91"/>
                  </a:cxn>
                  <a:cxn ang="0">
                    <a:pos x="csX92" y="csY92"/>
                  </a:cxn>
                </a:cxnLst>
                <a:rect l="l" t="t" r="r" b="b"/>
                <a:pathLst>
                  <a:path w="5456248" h="426406">
                    <a:moveTo>
                      <a:pt x="5263972" y="0"/>
                    </a:moveTo>
                    <a:lnTo>
                      <a:pt x="5173810" y="0"/>
                    </a:lnTo>
                    <a:lnTo>
                      <a:pt x="5053544" y="0"/>
                    </a:lnTo>
                    <a:lnTo>
                      <a:pt x="4963382" y="0"/>
                    </a:lnTo>
                    <a:lnTo>
                      <a:pt x="4893557" y="0"/>
                    </a:lnTo>
                    <a:lnTo>
                      <a:pt x="4803395" y="0"/>
                    </a:lnTo>
                    <a:lnTo>
                      <a:pt x="4683129" y="0"/>
                    </a:lnTo>
                    <a:lnTo>
                      <a:pt x="4603781" y="0"/>
                    </a:lnTo>
                    <a:lnTo>
                      <a:pt x="4592967" y="0"/>
                    </a:lnTo>
                    <a:lnTo>
                      <a:pt x="4528524" y="0"/>
                    </a:lnTo>
                    <a:lnTo>
                      <a:pt x="4513619" y="0"/>
                    </a:lnTo>
                    <a:lnTo>
                      <a:pt x="4438362" y="0"/>
                    </a:lnTo>
                    <a:lnTo>
                      <a:pt x="4393353" y="0"/>
                    </a:lnTo>
                    <a:lnTo>
                      <a:pt x="4318096" y="0"/>
                    </a:lnTo>
                    <a:lnTo>
                      <a:pt x="4303191" y="0"/>
                    </a:lnTo>
                    <a:lnTo>
                      <a:pt x="4238748" y="0"/>
                    </a:lnTo>
                    <a:lnTo>
                      <a:pt x="4227934" y="0"/>
                    </a:lnTo>
                    <a:lnTo>
                      <a:pt x="4148586" y="0"/>
                    </a:lnTo>
                    <a:lnTo>
                      <a:pt x="4028320" y="0"/>
                    </a:lnTo>
                    <a:lnTo>
                      <a:pt x="3938158" y="0"/>
                    </a:lnTo>
                    <a:lnTo>
                      <a:pt x="1518090" y="0"/>
                    </a:lnTo>
                    <a:lnTo>
                      <a:pt x="1427928" y="0"/>
                    </a:lnTo>
                    <a:lnTo>
                      <a:pt x="1307662" y="0"/>
                    </a:lnTo>
                    <a:lnTo>
                      <a:pt x="1228315" y="0"/>
                    </a:lnTo>
                    <a:lnTo>
                      <a:pt x="1217500" y="0"/>
                    </a:lnTo>
                    <a:lnTo>
                      <a:pt x="1153057" y="0"/>
                    </a:lnTo>
                    <a:lnTo>
                      <a:pt x="1138153" y="0"/>
                    </a:lnTo>
                    <a:lnTo>
                      <a:pt x="1062895" y="0"/>
                    </a:lnTo>
                    <a:lnTo>
                      <a:pt x="1017887" y="0"/>
                    </a:lnTo>
                    <a:lnTo>
                      <a:pt x="942629" y="0"/>
                    </a:lnTo>
                    <a:lnTo>
                      <a:pt x="927725" y="0"/>
                    </a:lnTo>
                    <a:lnTo>
                      <a:pt x="863282" y="0"/>
                    </a:lnTo>
                    <a:lnTo>
                      <a:pt x="852467" y="0"/>
                    </a:lnTo>
                    <a:lnTo>
                      <a:pt x="773120" y="0"/>
                    </a:lnTo>
                    <a:lnTo>
                      <a:pt x="652854" y="0"/>
                    </a:lnTo>
                    <a:lnTo>
                      <a:pt x="562692" y="0"/>
                    </a:lnTo>
                    <a:lnTo>
                      <a:pt x="492866" y="0"/>
                    </a:lnTo>
                    <a:lnTo>
                      <a:pt x="402704" y="0"/>
                    </a:lnTo>
                    <a:lnTo>
                      <a:pt x="282438" y="0"/>
                    </a:lnTo>
                    <a:lnTo>
                      <a:pt x="192276" y="0"/>
                    </a:lnTo>
                    <a:cubicBezTo>
                      <a:pt x="172644" y="0"/>
                      <a:pt x="153954" y="8556"/>
                      <a:pt x="141311" y="23432"/>
                    </a:cubicBezTo>
                    <a:lnTo>
                      <a:pt x="15431" y="171425"/>
                    </a:lnTo>
                    <a:lnTo>
                      <a:pt x="0" y="213135"/>
                    </a:lnTo>
                    <a:lnTo>
                      <a:pt x="0" y="213136"/>
                    </a:lnTo>
                    <a:lnTo>
                      <a:pt x="15431" y="254903"/>
                    </a:lnTo>
                    <a:lnTo>
                      <a:pt x="141311" y="402974"/>
                    </a:lnTo>
                    <a:cubicBezTo>
                      <a:pt x="153954" y="417851"/>
                      <a:pt x="172566" y="426406"/>
                      <a:pt x="192276" y="426406"/>
                    </a:cubicBezTo>
                    <a:lnTo>
                      <a:pt x="282438" y="426406"/>
                    </a:lnTo>
                    <a:lnTo>
                      <a:pt x="402704" y="426406"/>
                    </a:lnTo>
                    <a:lnTo>
                      <a:pt x="492866" y="426406"/>
                    </a:lnTo>
                    <a:lnTo>
                      <a:pt x="562692" y="426406"/>
                    </a:lnTo>
                    <a:lnTo>
                      <a:pt x="652854" y="426406"/>
                    </a:lnTo>
                    <a:lnTo>
                      <a:pt x="773120" y="426406"/>
                    </a:lnTo>
                    <a:lnTo>
                      <a:pt x="852467" y="426406"/>
                    </a:lnTo>
                    <a:lnTo>
                      <a:pt x="863282" y="426406"/>
                    </a:lnTo>
                    <a:lnTo>
                      <a:pt x="927725" y="426406"/>
                    </a:lnTo>
                    <a:lnTo>
                      <a:pt x="942629" y="426406"/>
                    </a:lnTo>
                    <a:lnTo>
                      <a:pt x="1017887" y="426406"/>
                    </a:lnTo>
                    <a:lnTo>
                      <a:pt x="1062895" y="426406"/>
                    </a:lnTo>
                    <a:lnTo>
                      <a:pt x="1138153" y="426406"/>
                    </a:lnTo>
                    <a:lnTo>
                      <a:pt x="1153057" y="426406"/>
                    </a:lnTo>
                    <a:lnTo>
                      <a:pt x="1217500" y="426406"/>
                    </a:lnTo>
                    <a:lnTo>
                      <a:pt x="1228315" y="426406"/>
                    </a:lnTo>
                    <a:lnTo>
                      <a:pt x="1307662" y="426406"/>
                    </a:lnTo>
                    <a:lnTo>
                      <a:pt x="1427928" y="426406"/>
                    </a:lnTo>
                    <a:lnTo>
                      <a:pt x="1518090" y="426406"/>
                    </a:lnTo>
                    <a:lnTo>
                      <a:pt x="3938158" y="426406"/>
                    </a:lnTo>
                    <a:lnTo>
                      <a:pt x="4028320" y="426406"/>
                    </a:lnTo>
                    <a:lnTo>
                      <a:pt x="4148586" y="426406"/>
                    </a:lnTo>
                    <a:lnTo>
                      <a:pt x="4227934" y="426406"/>
                    </a:lnTo>
                    <a:lnTo>
                      <a:pt x="4238748" y="426406"/>
                    </a:lnTo>
                    <a:lnTo>
                      <a:pt x="4303191" y="426406"/>
                    </a:lnTo>
                    <a:lnTo>
                      <a:pt x="4318096" y="426406"/>
                    </a:lnTo>
                    <a:lnTo>
                      <a:pt x="4393353" y="426406"/>
                    </a:lnTo>
                    <a:lnTo>
                      <a:pt x="4438362" y="426406"/>
                    </a:lnTo>
                    <a:lnTo>
                      <a:pt x="4513619" y="426406"/>
                    </a:lnTo>
                    <a:lnTo>
                      <a:pt x="4528524" y="426406"/>
                    </a:lnTo>
                    <a:lnTo>
                      <a:pt x="4592967" y="426406"/>
                    </a:lnTo>
                    <a:lnTo>
                      <a:pt x="4603781" y="426406"/>
                    </a:lnTo>
                    <a:lnTo>
                      <a:pt x="4683129" y="426406"/>
                    </a:lnTo>
                    <a:lnTo>
                      <a:pt x="4803395" y="426406"/>
                    </a:lnTo>
                    <a:lnTo>
                      <a:pt x="4893557" y="426406"/>
                    </a:lnTo>
                    <a:lnTo>
                      <a:pt x="4963382" y="426406"/>
                    </a:lnTo>
                    <a:lnTo>
                      <a:pt x="5053544" y="426406"/>
                    </a:lnTo>
                    <a:lnTo>
                      <a:pt x="5173810" y="426406"/>
                    </a:lnTo>
                    <a:lnTo>
                      <a:pt x="5263972" y="426406"/>
                    </a:lnTo>
                    <a:cubicBezTo>
                      <a:pt x="5283682" y="426406"/>
                      <a:pt x="5302294" y="417851"/>
                      <a:pt x="5314937" y="402974"/>
                    </a:cubicBezTo>
                    <a:lnTo>
                      <a:pt x="5440817" y="254903"/>
                    </a:lnTo>
                    <a:lnTo>
                      <a:pt x="5456248" y="213136"/>
                    </a:lnTo>
                    <a:lnTo>
                      <a:pt x="5456248" y="213135"/>
                    </a:lnTo>
                    <a:lnTo>
                      <a:pt x="5440817" y="171425"/>
                    </a:lnTo>
                    <a:lnTo>
                      <a:pt x="5314937" y="23432"/>
                    </a:lnTo>
                    <a:cubicBezTo>
                      <a:pt x="5302294" y="8556"/>
                      <a:pt x="5283604" y="0"/>
                      <a:pt x="5263972" y="0"/>
                    </a:cubicBezTo>
                    <a:close/>
                  </a:path>
                </a:pathLst>
              </a:custGeom>
              <a:solidFill>
                <a:srgbClr val="EFF7FE"/>
              </a:solidFill>
              <a:ln>
                <a:noFill/>
              </a:ln>
              <a:effectLst/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/>
                <a:endPara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endParaRPr>
              </a:p>
            </p:txBody>
          </p:sp>
          <p:sp>
            <p:nvSpPr>
              <p:cNvPr id="33" name="文本框 32"/>
              <p:cNvSpPr txBox="1"/>
              <p:nvPr/>
            </p:nvSpPr>
            <p:spPr>
              <a:xfrm>
                <a:off x="2470389" y="1191601"/>
                <a:ext cx="2711211" cy="337185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>
                <a:defPPr>
                  <a:defRPr lang="zh-CN"/>
                </a:defPPr>
                <a:lvl1pPr marL="71755" indent="0">
                  <a:lnSpc>
                    <a:spcPct val="100000"/>
                  </a:lnSpc>
                  <a:buNone/>
                  <a:defRPr sz="2400" b="1">
                    <a:gradFill>
                      <a:gsLst>
                        <a:gs pos="50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</a:defRPr>
                </a:lvl1pPr>
              </a:lstStyle>
              <a:p>
                <a:r>
                  <a:rPr lang="en-US" altLang="zh-CN" sz="1600"/>
                  <a:t>Hydrella</a:t>
                </a:r>
                <a:r>
                  <a:rPr lang="zh-CN" altLang="en-US" sz="1600"/>
                  <a:t>纳米胶束体系</a:t>
                </a:r>
                <a:endParaRPr lang="zh-CN" altLang="en-US" sz="1600"/>
              </a:p>
            </p:txBody>
          </p:sp>
        </p:grpSp>
        <p:sp>
          <p:nvSpPr>
            <p:cNvPr id="35" name="任意多边形: 形状 34"/>
            <p:cNvSpPr/>
            <p:nvPr/>
          </p:nvSpPr>
          <p:spPr>
            <a:xfrm flipH="1">
              <a:off x="6361101" y="1146990"/>
              <a:ext cx="2028436" cy="426406"/>
            </a:xfrm>
            <a:custGeom>
              <a:avLst/>
              <a:gdLst>
                <a:gd name="csX0" fmla="*/ 1836160 w 2028436"/>
                <a:gd name="csY0" fmla="*/ 0 h 426406"/>
                <a:gd name="csX1" fmla="*/ 1745998 w 2028436"/>
                <a:gd name="csY1" fmla="*/ 0 h 426406"/>
                <a:gd name="csX2" fmla="*/ 1625732 w 2028436"/>
                <a:gd name="csY2" fmla="*/ 0 h 426406"/>
                <a:gd name="csX3" fmla="*/ 1535570 w 2028436"/>
                <a:gd name="csY3" fmla="*/ 0 h 426406"/>
                <a:gd name="csX4" fmla="*/ 1518090 w 2028436"/>
                <a:gd name="csY4" fmla="*/ 0 h 426406"/>
                <a:gd name="csX5" fmla="*/ 1465745 w 2028436"/>
                <a:gd name="csY5" fmla="*/ 0 h 426406"/>
                <a:gd name="csX6" fmla="*/ 1427928 w 2028436"/>
                <a:gd name="csY6" fmla="*/ 0 h 426406"/>
                <a:gd name="csX7" fmla="*/ 1375583 w 2028436"/>
                <a:gd name="csY7" fmla="*/ 0 h 426406"/>
                <a:gd name="csX8" fmla="*/ 1307662 w 2028436"/>
                <a:gd name="csY8" fmla="*/ 0 h 426406"/>
                <a:gd name="csX9" fmla="*/ 1255317 w 2028436"/>
                <a:gd name="csY9" fmla="*/ 0 h 426406"/>
                <a:gd name="csX10" fmla="*/ 1228315 w 2028436"/>
                <a:gd name="csY10" fmla="*/ 0 h 426406"/>
                <a:gd name="csX11" fmla="*/ 1217500 w 2028436"/>
                <a:gd name="csY11" fmla="*/ 0 h 426406"/>
                <a:gd name="csX12" fmla="*/ 1175969 w 2028436"/>
                <a:gd name="csY12" fmla="*/ 0 h 426406"/>
                <a:gd name="csX13" fmla="*/ 1165155 w 2028436"/>
                <a:gd name="csY13" fmla="*/ 0 h 426406"/>
                <a:gd name="csX14" fmla="*/ 1153057 w 2028436"/>
                <a:gd name="csY14" fmla="*/ 0 h 426406"/>
                <a:gd name="csX15" fmla="*/ 1138153 w 2028436"/>
                <a:gd name="csY15" fmla="*/ 0 h 426406"/>
                <a:gd name="csX16" fmla="*/ 1100712 w 2028436"/>
                <a:gd name="csY16" fmla="*/ 0 h 426406"/>
                <a:gd name="csX17" fmla="*/ 1085807 w 2028436"/>
                <a:gd name="csY17" fmla="*/ 0 h 426406"/>
                <a:gd name="csX18" fmla="*/ 1062895 w 2028436"/>
                <a:gd name="csY18" fmla="*/ 0 h 426406"/>
                <a:gd name="csX19" fmla="*/ 1017887 w 2028436"/>
                <a:gd name="csY19" fmla="*/ 0 h 426406"/>
                <a:gd name="csX20" fmla="*/ 1010550 w 2028436"/>
                <a:gd name="csY20" fmla="*/ 0 h 426406"/>
                <a:gd name="csX21" fmla="*/ 965541 w 2028436"/>
                <a:gd name="csY21" fmla="*/ 0 h 426406"/>
                <a:gd name="csX22" fmla="*/ 942629 w 2028436"/>
                <a:gd name="csY22" fmla="*/ 0 h 426406"/>
                <a:gd name="csX23" fmla="*/ 927725 w 2028436"/>
                <a:gd name="csY23" fmla="*/ 0 h 426406"/>
                <a:gd name="csX24" fmla="*/ 890284 w 2028436"/>
                <a:gd name="csY24" fmla="*/ 0 h 426406"/>
                <a:gd name="csX25" fmla="*/ 875379 w 2028436"/>
                <a:gd name="csY25" fmla="*/ 0 h 426406"/>
                <a:gd name="csX26" fmla="*/ 863282 w 2028436"/>
                <a:gd name="csY26" fmla="*/ 0 h 426406"/>
                <a:gd name="csX27" fmla="*/ 852467 w 2028436"/>
                <a:gd name="csY27" fmla="*/ 0 h 426406"/>
                <a:gd name="csX28" fmla="*/ 810936 w 2028436"/>
                <a:gd name="csY28" fmla="*/ 0 h 426406"/>
                <a:gd name="csX29" fmla="*/ 800122 w 2028436"/>
                <a:gd name="csY29" fmla="*/ 0 h 426406"/>
                <a:gd name="csX30" fmla="*/ 773120 w 2028436"/>
                <a:gd name="csY30" fmla="*/ 0 h 426406"/>
                <a:gd name="csX31" fmla="*/ 720774 w 2028436"/>
                <a:gd name="csY31" fmla="*/ 0 h 426406"/>
                <a:gd name="csX32" fmla="*/ 652854 w 2028436"/>
                <a:gd name="csY32" fmla="*/ 0 h 426406"/>
                <a:gd name="csX33" fmla="*/ 600508 w 2028436"/>
                <a:gd name="csY33" fmla="*/ 0 h 426406"/>
                <a:gd name="csX34" fmla="*/ 562692 w 2028436"/>
                <a:gd name="csY34" fmla="*/ 0 h 426406"/>
                <a:gd name="csX35" fmla="*/ 510346 w 2028436"/>
                <a:gd name="csY35" fmla="*/ 0 h 426406"/>
                <a:gd name="csX36" fmla="*/ 492866 w 2028436"/>
                <a:gd name="csY36" fmla="*/ 0 h 426406"/>
                <a:gd name="csX37" fmla="*/ 402704 w 2028436"/>
                <a:gd name="csY37" fmla="*/ 0 h 426406"/>
                <a:gd name="csX38" fmla="*/ 282438 w 2028436"/>
                <a:gd name="csY38" fmla="*/ 0 h 426406"/>
                <a:gd name="csX39" fmla="*/ 192276 w 2028436"/>
                <a:gd name="csY39" fmla="*/ 0 h 426406"/>
                <a:gd name="csX40" fmla="*/ 141311 w 2028436"/>
                <a:gd name="csY40" fmla="*/ 23432 h 426406"/>
                <a:gd name="csX41" fmla="*/ 15431 w 2028436"/>
                <a:gd name="csY41" fmla="*/ 171425 h 426406"/>
                <a:gd name="csX42" fmla="*/ 0 w 2028436"/>
                <a:gd name="csY42" fmla="*/ 213135 h 426406"/>
                <a:gd name="csX43" fmla="*/ 0 w 2028436"/>
                <a:gd name="csY43" fmla="*/ 213136 h 426406"/>
                <a:gd name="csX44" fmla="*/ 15431 w 2028436"/>
                <a:gd name="csY44" fmla="*/ 254903 h 426406"/>
                <a:gd name="csX45" fmla="*/ 141311 w 2028436"/>
                <a:gd name="csY45" fmla="*/ 402974 h 426406"/>
                <a:gd name="csX46" fmla="*/ 192276 w 2028436"/>
                <a:gd name="csY46" fmla="*/ 426406 h 426406"/>
                <a:gd name="csX47" fmla="*/ 282438 w 2028436"/>
                <a:gd name="csY47" fmla="*/ 426406 h 426406"/>
                <a:gd name="csX48" fmla="*/ 402704 w 2028436"/>
                <a:gd name="csY48" fmla="*/ 426406 h 426406"/>
                <a:gd name="csX49" fmla="*/ 492866 w 2028436"/>
                <a:gd name="csY49" fmla="*/ 426406 h 426406"/>
                <a:gd name="csX50" fmla="*/ 510346 w 2028436"/>
                <a:gd name="csY50" fmla="*/ 426406 h 426406"/>
                <a:gd name="csX51" fmla="*/ 562692 w 2028436"/>
                <a:gd name="csY51" fmla="*/ 426406 h 426406"/>
                <a:gd name="csX52" fmla="*/ 600508 w 2028436"/>
                <a:gd name="csY52" fmla="*/ 426406 h 426406"/>
                <a:gd name="csX53" fmla="*/ 652854 w 2028436"/>
                <a:gd name="csY53" fmla="*/ 426406 h 426406"/>
                <a:gd name="csX54" fmla="*/ 720774 w 2028436"/>
                <a:gd name="csY54" fmla="*/ 426406 h 426406"/>
                <a:gd name="csX55" fmla="*/ 773120 w 2028436"/>
                <a:gd name="csY55" fmla="*/ 426406 h 426406"/>
                <a:gd name="csX56" fmla="*/ 800122 w 2028436"/>
                <a:gd name="csY56" fmla="*/ 426406 h 426406"/>
                <a:gd name="csX57" fmla="*/ 810936 w 2028436"/>
                <a:gd name="csY57" fmla="*/ 426406 h 426406"/>
                <a:gd name="csX58" fmla="*/ 852467 w 2028436"/>
                <a:gd name="csY58" fmla="*/ 426406 h 426406"/>
                <a:gd name="csX59" fmla="*/ 863282 w 2028436"/>
                <a:gd name="csY59" fmla="*/ 426406 h 426406"/>
                <a:gd name="csX60" fmla="*/ 875379 w 2028436"/>
                <a:gd name="csY60" fmla="*/ 426406 h 426406"/>
                <a:gd name="csX61" fmla="*/ 890284 w 2028436"/>
                <a:gd name="csY61" fmla="*/ 426406 h 426406"/>
                <a:gd name="csX62" fmla="*/ 927725 w 2028436"/>
                <a:gd name="csY62" fmla="*/ 426406 h 426406"/>
                <a:gd name="csX63" fmla="*/ 942629 w 2028436"/>
                <a:gd name="csY63" fmla="*/ 426406 h 426406"/>
                <a:gd name="csX64" fmla="*/ 965541 w 2028436"/>
                <a:gd name="csY64" fmla="*/ 426406 h 426406"/>
                <a:gd name="csX65" fmla="*/ 1010550 w 2028436"/>
                <a:gd name="csY65" fmla="*/ 426406 h 426406"/>
                <a:gd name="csX66" fmla="*/ 1017887 w 2028436"/>
                <a:gd name="csY66" fmla="*/ 426406 h 426406"/>
                <a:gd name="csX67" fmla="*/ 1062895 w 2028436"/>
                <a:gd name="csY67" fmla="*/ 426406 h 426406"/>
                <a:gd name="csX68" fmla="*/ 1085807 w 2028436"/>
                <a:gd name="csY68" fmla="*/ 426406 h 426406"/>
                <a:gd name="csX69" fmla="*/ 1100712 w 2028436"/>
                <a:gd name="csY69" fmla="*/ 426406 h 426406"/>
                <a:gd name="csX70" fmla="*/ 1138153 w 2028436"/>
                <a:gd name="csY70" fmla="*/ 426406 h 426406"/>
                <a:gd name="csX71" fmla="*/ 1153057 w 2028436"/>
                <a:gd name="csY71" fmla="*/ 426406 h 426406"/>
                <a:gd name="csX72" fmla="*/ 1165155 w 2028436"/>
                <a:gd name="csY72" fmla="*/ 426406 h 426406"/>
                <a:gd name="csX73" fmla="*/ 1175969 w 2028436"/>
                <a:gd name="csY73" fmla="*/ 426406 h 426406"/>
                <a:gd name="csX74" fmla="*/ 1217500 w 2028436"/>
                <a:gd name="csY74" fmla="*/ 426406 h 426406"/>
                <a:gd name="csX75" fmla="*/ 1228315 w 2028436"/>
                <a:gd name="csY75" fmla="*/ 426406 h 426406"/>
                <a:gd name="csX76" fmla="*/ 1255317 w 2028436"/>
                <a:gd name="csY76" fmla="*/ 426406 h 426406"/>
                <a:gd name="csX77" fmla="*/ 1307662 w 2028436"/>
                <a:gd name="csY77" fmla="*/ 426406 h 426406"/>
                <a:gd name="csX78" fmla="*/ 1375583 w 2028436"/>
                <a:gd name="csY78" fmla="*/ 426406 h 426406"/>
                <a:gd name="csX79" fmla="*/ 1427928 w 2028436"/>
                <a:gd name="csY79" fmla="*/ 426406 h 426406"/>
                <a:gd name="csX80" fmla="*/ 1465745 w 2028436"/>
                <a:gd name="csY80" fmla="*/ 426406 h 426406"/>
                <a:gd name="csX81" fmla="*/ 1518090 w 2028436"/>
                <a:gd name="csY81" fmla="*/ 426406 h 426406"/>
                <a:gd name="csX82" fmla="*/ 1535570 w 2028436"/>
                <a:gd name="csY82" fmla="*/ 426406 h 426406"/>
                <a:gd name="csX83" fmla="*/ 1625732 w 2028436"/>
                <a:gd name="csY83" fmla="*/ 426406 h 426406"/>
                <a:gd name="csX84" fmla="*/ 1745998 w 2028436"/>
                <a:gd name="csY84" fmla="*/ 426406 h 426406"/>
                <a:gd name="csX85" fmla="*/ 1836160 w 2028436"/>
                <a:gd name="csY85" fmla="*/ 426406 h 426406"/>
                <a:gd name="csX86" fmla="*/ 1887125 w 2028436"/>
                <a:gd name="csY86" fmla="*/ 402974 h 426406"/>
                <a:gd name="csX87" fmla="*/ 2013005 w 2028436"/>
                <a:gd name="csY87" fmla="*/ 254903 h 426406"/>
                <a:gd name="csX88" fmla="*/ 2028436 w 2028436"/>
                <a:gd name="csY88" fmla="*/ 213136 h 426406"/>
                <a:gd name="csX89" fmla="*/ 2028436 w 2028436"/>
                <a:gd name="csY89" fmla="*/ 213135 h 426406"/>
                <a:gd name="csX90" fmla="*/ 2013005 w 2028436"/>
                <a:gd name="csY90" fmla="*/ 171425 h 426406"/>
                <a:gd name="csX91" fmla="*/ 1887125 w 2028436"/>
                <a:gd name="csY91" fmla="*/ 23432 h 426406"/>
                <a:gd name="csX92" fmla="*/ 1836160 w 2028436"/>
                <a:gd name="csY92" fmla="*/ 0 h 426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</a:cxnLst>
              <a:rect l="l" t="t" r="r" b="b"/>
              <a:pathLst>
                <a:path w="2028436" h="426406">
                  <a:moveTo>
                    <a:pt x="1836160" y="0"/>
                  </a:moveTo>
                  <a:lnTo>
                    <a:pt x="1745998" y="0"/>
                  </a:lnTo>
                  <a:lnTo>
                    <a:pt x="1625732" y="0"/>
                  </a:lnTo>
                  <a:lnTo>
                    <a:pt x="1535570" y="0"/>
                  </a:lnTo>
                  <a:lnTo>
                    <a:pt x="1518090" y="0"/>
                  </a:lnTo>
                  <a:lnTo>
                    <a:pt x="1465745" y="0"/>
                  </a:lnTo>
                  <a:lnTo>
                    <a:pt x="1427928" y="0"/>
                  </a:lnTo>
                  <a:lnTo>
                    <a:pt x="1375583" y="0"/>
                  </a:lnTo>
                  <a:lnTo>
                    <a:pt x="1307662" y="0"/>
                  </a:lnTo>
                  <a:lnTo>
                    <a:pt x="1255317" y="0"/>
                  </a:lnTo>
                  <a:lnTo>
                    <a:pt x="1228315" y="0"/>
                  </a:lnTo>
                  <a:lnTo>
                    <a:pt x="1217500" y="0"/>
                  </a:lnTo>
                  <a:lnTo>
                    <a:pt x="1175969" y="0"/>
                  </a:lnTo>
                  <a:lnTo>
                    <a:pt x="1165155" y="0"/>
                  </a:lnTo>
                  <a:lnTo>
                    <a:pt x="1153057" y="0"/>
                  </a:lnTo>
                  <a:lnTo>
                    <a:pt x="1138153" y="0"/>
                  </a:lnTo>
                  <a:lnTo>
                    <a:pt x="1100712" y="0"/>
                  </a:lnTo>
                  <a:lnTo>
                    <a:pt x="1085807" y="0"/>
                  </a:lnTo>
                  <a:lnTo>
                    <a:pt x="1062895" y="0"/>
                  </a:lnTo>
                  <a:lnTo>
                    <a:pt x="1017887" y="0"/>
                  </a:lnTo>
                  <a:lnTo>
                    <a:pt x="1010550" y="0"/>
                  </a:lnTo>
                  <a:lnTo>
                    <a:pt x="965541" y="0"/>
                  </a:lnTo>
                  <a:lnTo>
                    <a:pt x="942629" y="0"/>
                  </a:lnTo>
                  <a:lnTo>
                    <a:pt x="927725" y="0"/>
                  </a:lnTo>
                  <a:lnTo>
                    <a:pt x="890284" y="0"/>
                  </a:lnTo>
                  <a:lnTo>
                    <a:pt x="875379" y="0"/>
                  </a:lnTo>
                  <a:lnTo>
                    <a:pt x="863282" y="0"/>
                  </a:lnTo>
                  <a:lnTo>
                    <a:pt x="852467" y="0"/>
                  </a:lnTo>
                  <a:lnTo>
                    <a:pt x="810936" y="0"/>
                  </a:lnTo>
                  <a:lnTo>
                    <a:pt x="800122" y="0"/>
                  </a:lnTo>
                  <a:lnTo>
                    <a:pt x="773120" y="0"/>
                  </a:lnTo>
                  <a:lnTo>
                    <a:pt x="720774" y="0"/>
                  </a:lnTo>
                  <a:lnTo>
                    <a:pt x="652854" y="0"/>
                  </a:lnTo>
                  <a:lnTo>
                    <a:pt x="600508" y="0"/>
                  </a:lnTo>
                  <a:lnTo>
                    <a:pt x="562692" y="0"/>
                  </a:lnTo>
                  <a:lnTo>
                    <a:pt x="510346" y="0"/>
                  </a:lnTo>
                  <a:lnTo>
                    <a:pt x="492866" y="0"/>
                  </a:lnTo>
                  <a:lnTo>
                    <a:pt x="402704" y="0"/>
                  </a:lnTo>
                  <a:lnTo>
                    <a:pt x="282438" y="0"/>
                  </a:lnTo>
                  <a:lnTo>
                    <a:pt x="192276" y="0"/>
                  </a:lnTo>
                  <a:cubicBezTo>
                    <a:pt x="172644" y="0"/>
                    <a:pt x="153954" y="8556"/>
                    <a:pt x="141311" y="23432"/>
                  </a:cubicBezTo>
                  <a:lnTo>
                    <a:pt x="15431" y="171425"/>
                  </a:lnTo>
                  <a:lnTo>
                    <a:pt x="0" y="213135"/>
                  </a:lnTo>
                  <a:lnTo>
                    <a:pt x="0" y="213136"/>
                  </a:lnTo>
                  <a:lnTo>
                    <a:pt x="15431" y="254903"/>
                  </a:lnTo>
                  <a:lnTo>
                    <a:pt x="141311" y="402974"/>
                  </a:lnTo>
                  <a:cubicBezTo>
                    <a:pt x="153954" y="417851"/>
                    <a:pt x="172566" y="426406"/>
                    <a:pt x="192276" y="426406"/>
                  </a:cubicBezTo>
                  <a:lnTo>
                    <a:pt x="282438" y="426406"/>
                  </a:lnTo>
                  <a:lnTo>
                    <a:pt x="402704" y="426406"/>
                  </a:lnTo>
                  <a:lnTo>
                    <a:pt x="492866" y="426406"/>
                  </a:lnTo>
                  <a:lnTo>
                    <a:pt x="510346" y="426406"/>
                  </a:lnTo>
                  <a:lnTo>
                    <a:pt x="562692" y="426406"/>
                  </a:lnTo>
                  <a:lnTo>
                    <a:pt x="600508" y="426406"/>
                  </a:lnTo>
                  <a:lnTo>
                    <a:pt x="652854" y="426406"/>
                  </a:lnTo>
                  <a:lnTo>
                    <a:pt x="720774" y="426406"/>
                  </a:lnTo>
                  <a:lnTo>
                    <a:pt x="773120" y="426406"/>
                  </a:lnTo>
                  <a:lnTo>
                    <a:pt x="800122" y="426406"/>
                  </a:lnTo>
                  <a:lnTo>
                    <a:pt x="810936" y="426406"/>
                  </a:lnTo>
                  <a:lnTo>
                    <a:pt x="852467" y="426406"/>
                  </a:lnTo>
                  <a:lnTo>
                    <a:pt x="863282" y="426406"/>
                  </a:lnTo>
                  <a:lnTo>
                    <a:pt x="875379" y="426406"/>
                  </a:lnTo>
                  <a:lnTo>
                    <a:pt x="890284" y="426406"/>
                  </a:lnTo>
                  <a:lnTo>
                    <a:pt x="927725" y="426406"/>
                  </a:lnTo>
                  <a:lnTo>
                    <a:pt x="942629" y="426406"/>
                  </a:lnTo>
                  <a:lnTo>
                    <a:pt x="965541" y="426406"/>
                  </a:lnTo>
                  <a:lnTo>
                    <a:pt x="1010550" y="426406"/>
                  </a:lnTo>
                  <a:lnTo>
                    <a:pt x="1017887" y="426406"/>
                  </a:lnTo>
                  <a:lnTo>
                    <a:pt x="1062895" y="426406"/>
                  </a:lnTo>
                  <a:lnTo>
                    <a:pt x="1085807" y="426406"/>
                  </a:lnTo>
                  <a:lnTo>
                    <a:pt x="1100712" y="426406"/>
                  </a:lnTo>
                  <a:lnTo>
                    <a:pt x="1138153" y="426406"/>
                  </a:lnTo>
                  <a:lnTo>
                    <a:pt x="1153057" y="426406"/>
                  </a:lnTo>
                  <a:lnTo>
                    <a:pt x="1165155" y="426406"/>
                  </a:lnTo>
                  <a:lnTo>
                    <a:pt x="1175969" y="426406"/>
                  </a:lnTo>
                  <a:lnTo>
                    <a:pt x="1217500" y="426406"/>
                  </a:lnTo>
                  <a:lnTo>
                    <a:pt x="1228315" y="426406"/>
                  </a:lnTo>
                  <a:lnTo>
                    <a:pt x="1255317" y="426406"/>
                  </a:lnTo>
                  <a:lnTo>
                    <a:pt x="1307662" y="426406"/>
                  </a:lnTo>
                  <a:lnTo>
                    <a:pt x="1375583" y="426406"/>
                  </a:lnTo>
                  <a:lnTo>
                    <a:pt x="1427928" y="426406"/>
                  </a:lnTo>
                  <a:lnTo>
                    <a:pt x="1465745" y="426406"/>
                  </a:lnTo>
                  <a:lnTo>
                    <a:pt x="1518090" y="426406"/>
                  </a:lnTo>
                  <a:lnTo>
                    <a:pt x="1535570" y="426406"/>
                  </a:lnTo>
                  <a:lnTo>
                    <a:pt x="1625732" y="426406"/>
                  </a:lnTo>
                  <a:lnTo>
                    <a:pt x="1745998" y="426406"/>
                  </a:lnTo>
                  <a:lnTo>
                    <a:pt x="1836160" y="426406"/>
                  </a:lnTo>
                  <a:cubicBezTo>
                    <a:pt x="1855870" y="426406"/>
                    <a:pt x="1874482" y="417851"/>
                    <a:pt x="1887125" y="402974"/>
                  </a:cubicBezTo>
                  <a:lnTo>
                    <a:pt x="2013005" y="254903"/>
                  </a:lnTo>
                  <a:lnTo>
                    <a:pt x="2028436" y="213136"/>
                  </a:lnTo>
                  <a:lnTo>
                    <a:pt x="2028436" y="213135"/>
                  </a:lnTo>
                  <a:lnTo>
                    <a:pt x="2013005" y="171425"/>
                  </a:lnTo>
                  <a:lnTo>
                    <a:pt x="1887125" y="23432"/>
                  </a:lnTo>
                  <a:cubicBezTo>
                    <a:pt x="1874482" y="8556"/>
                    <a:pt x="1855792" y="0"/>
                    <a:pt x="1836160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360045" algn="ctr"/>
              <a:r>
                <a: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rPr>
                <a:t>制剂技术创新</a:t>
              </a:r>
              <a:endParaRPr lang="zh-CN" altLang="en-US" sz="1600" b="1">
                <a:gradFill>
                  <a:gsLst>
                    <a:gs pos="50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50" name="图形 48"/>
            <p:cNvSpPr/>
            <p:nvPr/>
          </p:nvSpPr>
          <p:spPr>
            <a:xfrm>
              <a:off x="6594151" y="1241822"/>
              <a:ext cx="218446" cy="234049"/>
            </a:xfrm>
            <a:custGeom>
              <a:avLst/>
              <a:gdLst>
                <a:gd name="csX0" fmla="*/ 124827 w 218446"/>
                <a:gd name="csY0" fmla="*/ 210645 h 234049"/>
                <a:gd name="csX1" fmla="*/ 132628 w 218446"/>
                <a:gd name="csY1" fmla="*/ 218446 h 234049"/>
                <a:gd name="csX2" fmla="*/ 132628 w 218446"/>
                <a:gd name="csY2" fmla="*/ 226248 h 234049"/>
                <a:gd name="csX3" fmla="*/ 124827 w 218446"/>
                <a:gd name="csY3" fmla="*/ 234050 h 234049"/>
                <a:gd name="csX4" fmla="*/ 93620 w 218446"/>
                <a:gd name="csY4" fmla="*/ 234050 h 234049"/>
                <a:gd name="csX5" fmla="*/ 85818 w 218446"/>
                <a:gd name="csY5" fmla="*/ 226248 h 234049"/>
                <a:gd name="csX6" fmla="*/ 85818 w 218446"/>
                <a:gd name="csY6" fmla="*/ 218446 h 234049"/>
                <a:gd name="csX7" fmla="*/ 93620 w 218446"/>
                <a:gd name="csY7" fmla="*/ 210645 h 234049"/>
                <a:gd name="csX8" fmla="*/ 124827 w 218446"/>
                <a:gd name="csY8" fmla="*/ 210645 h 234049"/>
                <a:gd name="csX9" fmla="*/ 109223 w 218446"/>
                <a:gd name="csY9" fmla="*/ 46810 h 234049"/>
                <a:gd name="csX10" fmla="*/ 171636 w 218446"/>
                <a:gd name="csY10" fmla="*/ 109223 h 234049"/>
                <a:gd name="csX11" fmla="*/ 142630 w 218446"/>
                <a:gd name="csY11" fmla="*/ 161635 h 234049"/>
                <a:gd name="csX12" fmla="*/ 140445 w 218446"/>
                <a:gd name="csY12" fmla="*/ 163281 h 234049"/>
                <a:gd name="csX13" fmla="*/ 140430 w 218446"/>
                <a:gd name="csY13" fmla="*/ 179165 h 234049"/>
                <a:gd name="csX14" fmla="*/ 124553 w 218446"/>
                <a:gd name="csY14" fmla="*/ 195041 h 234049"/>
                <a:gd name="csX15" fmla="*/ 117025 w 218446"/>
                <a:gd name="csY15" fmla="*/ 195041 h 234049"/>
                <a:gd name="csX16" fmla="*/ 117033 w 218446"/>
                <a:gd name="csY16" fmla="*/ 122736 h 234049"/>
                <a:gd name="csX17" fmla="*/ 122741 w 218446"/>
                <a:gd name="csY17" fmla="*/ 101420 h 234049"/>
                <a:gd name="csX18" fmla="*/ 101426 w 218446"/>
                <a:gd name="csY18" fmla="*/ 95712 h 234049"/>
                <a:gd name="csX19" fmla="*/ 95717 w 218446"/>
                <a:gd name="csY19" fmla="*/ 117027 h 234049"/>
                <a:gd name="csX20" fmla="*/ 100376 w 218446"/>
                <a:gd name="csY20" fmla="*/ 122073 h 234049"/>
                <a:gd name="csX21" fmla="*/ 101422 w 218446"/>
                <a:gd name="csY21" fmla="*/ 122736 h 234049"/>
                <a:gd name="csX22" fmla="*/ 101422 w 218446"/>
                <a:gd name="csY22" fmla="*/ 195041 h 234049"/>
                <a:gd name="csX23" fmla="*/ 93893 w 218446"/>
                <a:gd name="csY23" fmla="*/ 195041 h 234049"/>
                <a:gd name="csX24" fmla="*/ 78017 w 218446"/>
                <a:gd name="csY24" fmla="*/ 179165 h 234049"/>
                <a:gd name="csX25" fmla="*/ 78017 w 218446"/>
                <a:gd name="csY25" fmla="*/ 180749 h 234049"/>
                <a:gd name="csX26" fmla="*/ 66322 w 218446"/>
                <a:gd name="csY26" fmla="*/ 153357 h 234049"/>
                <a:gd name="csX27" fmla="*/ 46810 w 218446"/>
                <a:gd name="csY27" fmla="*/ 109223 h 234049"/>
                <a:gd name="csX28" fmla="*/ 109223 w 218446"/>
                <a:gd name="csY28" fmla="*/ 46810 h 234049"/>
                <a:gd name="csX29" fmla="*/ 210645 w 218446"/>
                <a:gd name="csY29" fmla="*/ 101422 h 234049"/>
                <a:gd name="csX30" fmla="*/ 218446 w 218446"/>
                <a:gd name="csY30" fmla="*/ 109223 h 234049"/>
                <a:gd name="csX31" fmla="*/ 210645 w 218446"/>
                <a:gd name="csY31" fmla="*/ 117025 h 234049"/>
                <a:gd name="csX32" fmla="*/ 195041 w 218446"/>
                <a:gd name="csY32" fmla="*/ 117025 h 234049"/>
                <a:gd name="csX33" fmla="*/ 187240 w 218446"/>
                <a:gd name="csY33" fmla="*/ 109223 h 234049"/>
                <a:gd name="csX34" fmla="*/ 195041 w 218446"/>
                <a:gd name="csY34" fmla="*/ 101422 h 234049"/>
                <a:gd name="csX35" fmla="*/ 210645 w 218446"/>
                <a:gd name="csY35" fmla="*/ 101422 h 234049"/>
                <a:gd name="csX36" fmla="*/ 23405 w 218446"/>
                <a:gd name="csY36" fmla="*/ 101422 h 234049"/>
                <a:gd name="csX37" fmla="*/ 31207 w 218446"/>
                <a:gd name="csY37" fmla="*/ 109223 h 234049"/>
                <a:gd name="csX38" fmla="*/ 23405 w 218446"/>
                <a:gd name="csY38" fmla="*/ 117025 h 234049"/>
                <a:gd name="csX39" fmla="*/ 7802 w 218446"/>
                <a:gd name="csY39" fmla="*/ 117025 h 234049"/>
                <a:gd name="csX40" fmla="*/ 0 w 218446"/>
                <a:gd name="csY40" fmla="*/ 109223 h 234049"/>
                <a:gd name="csX41" fmla="*/ 7802 w 218446"/>
                <a:gd name="csY41" fmla="*/ 101422 h 234049"/>
                <a:gd name="csX42" fmla="*/ 23405 w 218446"/>
                <a:gd name="csY42" fmla="*/ 101422 h 234049"/>
                <a:gd name="csX43" fmla="*/ 186460 w 218446"/>
                <a:gd name="csY43" fmla="*/ 31987 h 234049"/>
                <a:gd name="csX44" fmla="*/ 186466 w 218446"/>
                <a:gd name="csY44" fmla="*/ 43020 h 234049"/>
                <a:gd name="csX45" fmla="*/ 186460 w 218446"/>
                <a:gd name="csY45" fmla="*/ 43026 h 234049"/>
                <a:gd name="csX46" fmla="*/ 175420 w 218446"/>
                <a:gd name="csY46" fmla="*/ 54058 h 234049"/>
                <a:gd name="csX47" fmla="*/ 164389 w 218446"/>
                <a:gd name="csY47" fmla="*/ 53866 h 234049"/>
                <a:gd name="csX48" fmla="*/ 164389 w 218446"/>
                <a:gd name="csY48" fmla="*/ 43026 h 234049"/>
                <a:gd name="csX49" fmla="*/ 175420 w 218446"/>
                <a:gd name="csY49" fmla="*/ 31987 h 234049"/>
                <a:gd name="csX50" fmla="*/ 186452 w 218446"/>
                <a:gd name="csY50" fmla="*/ 31987 h 234049"/>
                <a:gd name="csX51" fmla="*/ 43026 w 218446"/>
                <a:gd name="csY51" fmla="*/ 31987 h 234049"/>
                <a:gd name="csX52" fmla="*/ 54058 w 218446"/>
                <a:gd name="csY52" fmla="*/ 43026 h 234049"/>
                <a:gd name="csX53" fmla="*/ 53866 w 218446"/>
                <a:gd name="csY53" fmla="*/ 54058 h 234049"/>
                <a:gd name="csX54" fmla="*/ 43026 w 218446"/>
                <a:gd name="csY54" fmla="*/ 54058 h 234049"/>
                <a:gd name="csX55" fmla="*/ 31987 w 218446"/>
                <a:gd name="csY55" fmla="*/ 43026 h 234049"/>
                <a:gd name="csX56" fmla="*/ 31987 w 218446"/>
                <a:gd name="csY56" fmla="*/ 31987 h 234049"/>
                <a:gd name="csX57" fmla="*/ 43026 w 218446"/>
                <a:gd name="csY57" fmla="*/ 31987 h 234049"/>
                <a:gd name="csX58" fmla="*/ 109223 w 218446"/>
                <a:gd name="csY58" fmla="*/ 0 h 234049"/>
                <a:gd name="csX59" fmla="*/ 117025 w 218446"/>
                <a:gd name="csY59" fmla="*/ 7802 h 234049"/>
                <a:gd name="csX60" fmla="*/ 117025 w 218446"/>
                <a:gd name="csY60" fmla="*/ 23405 h 234049"/>
                <a:gd name="csX61" fmla="*/ 109223 w 218446"/>
                <a:gd name="csY61" fmla="*/ 31207 h 234049"/>
                <a:gd name="csX62" fmla="*/ 101422 w 218446"/>
                <a:gd name="csY62" fmla="*/ 23405 h 234049"/>
                <a:gd name="csX63" fmla="*/ 101422 w 218446"/>
                <a:gd name="csY63" fmla="*/ 7802 h 234049"/>
                <a:gd name="csX64" fmla="*/ 109223 w 218446"/>
                <a:gd name="csY64" fmla="*/ 0 h 23404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</a:cxnLst>
              <a:rect l="l" t="t" r="r" b="b"/>
              <a:pathLst>
                <a:path w="218446" h="234049">
                  <a:moveTo>
                    <a:pt x="124827" y="210645"/>
                  </a:moveTo>
                  <a:cubicBezTo>
                    <a:pt x="129135" y="210645"/>
                    <a:pt x="132628" y="214138"/>
                    <a:pt x="132628" y="218446"/>
                  </a:cubicBezTo>
                  <a:lnTo>
                    <a:pt x="132628" y="226248"/>
                  </a:lnTo>
                  <a:cubicBezTo>
                    <a:pt x="132628" y="230557"/>
                    <a:pt x="129135" y="234050"/>
                    <a:pt x="124827" y="234050"/>
                  </a:cubicBezTo>
                  <a:lnTo>
                    <a:pt x="93620" y="234050"/>
                  </a:lnTo>
                  <a:cubicBezTo>
                    <a:pt x="89311" y="234050"/>
                    <a:pt x="85818" y="230557"/>
                    <a:pt x="85818" y="226248"/>
                  </a:cubicBezTo>
                  <a:lnTo>
                    <a:pt x="85818" y="218446"/>
                  </a:lnTo>
                  <a:cubicBezTo>
                    <a:pt x="85818" y="214138"/>
                    <a:pt x="89311" y="210645"/>
                    <a:pt x="93620" y="210645"/>
                  </a:cubicBezTo>
                  <a:lnTo>
                    <a:pt x="124827" y="210645"/>
                  </a:lnTo>
                  <a:close/>
                  <a:moveTo>
                    <a:pt x="109223" y="46810"/>
                  </a:moveTo>
                  <a:cubicBezTo>
                    <a:pt x="143693" y="46810"/>
                    <a:pt x="171636" y="74753"/>
                    <a:pt x="171636" y="109223"/>
                  </a:cubicBezTo>
                  <a:cubicBezTo>
                    <a:pt x="171636" y="129281"/>
                    <a:pt x="161962" y="146749"/>
                    <a:pt x="142630" y="161635"/>
                  </a:cubicBezTo>
                  <a:lnTo>
                    <a:pt x="140445" y="163281"/>
                  </a:lnTo>
                  <a:lnTo>
                    <a:pt x="140430" y="179165"/>
                  </a:lnTo>
                  <a:cubicBezTo>
                    <a:pt x="140425" y="187931"/>
                    <a:pt x="133320" y="195037"/>
                    <a:pt x="124553" y="195041"/>
                  </a:cubicBezTo>
                  <a:lnTo>
                    <a:pt x="117025" y="195041"/>
                  </a:lnTo>
                  <a:lnTo>
                    <a:pt x="117033" y="122736"/>
                  </a:lnTo>
                  <a:cubicBezTo>
                    <a:pt x="124495" y="118426"/>
                    <a:pt x="127051" y="108883"/>
                    <a:pt x="122741" y="101420"/>
                  </a:cubicBezTo>
                  <a:cubicBezTo>
                    <a:pt x="118431" y="93958"/>
                    <a:pt x="108888" y="91402"/>
                    <a:pt x="101426" y="95712"/>
                  </a:cubicBezTo>
                  <a:cubicBezTo>
                    <a:pt x="93963" y="100022"/>
                    <a:pt x="91408" y="109565"/>
                    <a:pt x="95717" y="117027"/>
                  </a:cubicBezTo>
                  <a:cubicBezTo>
                    <a:pt x="96876" y="119034"/>
                    <a:pt x="98468" y="120758"/>
                    <a:pt x="100376" y="122073"/>
                  </a:cubicBezTo>
                  <a:lnTo>
                    <a:pt x="101422" y="122736"/>
                  </a:lnTo>
                  <a:lnTo>
                    <a:pt x="101422" y="195041"/>
                  </a:lnTo>
                  <a:lnTo>
                    <a:pt x="93893" y="195041"/>
                  </a:lnTo>
                  <a:cubicBezTo>
                    <a:pt x="85125" y="195041"/>
                    <a:pt x="78017" y="187933"/>
                    <a:pt x="78017" y="179165"/>
                  </a:cubicBezTo>
                  <a:lnTo>
                    <a:pt x="78017" y="180749"/>
                  </a:lnTo>
                  <a:cubicBezTo>
                    <a:pt x="77748" y="170462"/>
                    <a:pt x="73565" y="160666"/>
                    <a:pt x="66322" y="153357"/>
                  </a:cubicBezTo>
                  <a:cubicBezTo>
                    <a:pt x="53317" y="140383"/>
                    <a:pt x="46810" y="125677"/>
                    <a:pt x="46810" y="109223"/>
                  </a:cubicBezTo>
                  <a:cubicBezTo>
                    <a:pt x="46810" y="74753"/>
                    <a:pt x="74753" y="46810"/>
                    <a:pt x="109223" y="46810"/>
                  </a:cubicBezTo>
                  <a:close/>
                  <a:moveTo>
                    <a:pt x="210645" y="101422"/>
                  </a:moveTo>
                  <a:cubicBezTo>
                    <a:pt x="214953" y="101422"/>
                    <a:pt x="218446" y="104914"/>
                    <a:pt x="218446" y="109223"/>
                  </a:cubicBezTo>
                  <a:cubicBezTo>
                    <a:pt x="218446" y="113532"/>
                    <a:pt x="214953" y="117025"/>
                    <a:pt x="210645" y="117025"/>
                  </a:cubicBezTo>
                  <a:lnTo>
                    <a:pt x="195041" y="117025"/>
                  </a:lnTo>
                  <a:cubicBezTo>
                    <a:pt x="190733" y="117025"/>
                    <a:pt x="187240" y="113532"/>
                    <a:pt x="187240" y="109223"/>
                  </a:cubicBezTo>
                  <a:cubicBezTo>
                    <a:pt x="187240" y="104914"/>
                    <a:pt x="190733" y="101422"/>
                    <a:pt x="195041" y="101422"/>
                  </a:cubicBezTo>
                  <a:lnTo>
                    <a:pt x="210645" y="101422"/>
                  </a:lnTo>
                  <a:close/>
                  <a:moveTo>
                    <a:pt x="23405" y="101422"/>
                  </a:moveTo>
                  <a:cubicBezTo>
                    <a:pt x="27714" y="101422"/>
                    <a:pt x="31207" y="104914"/>
                    <a:pt x="31207" y="109223"/>
                  </a:cubicBezTo>
                  <a:cubicBezTo>
                    <a:pt x="31207" y="113532"/>
                    <a:pt x="27714" y="117025"/>
                    <a:pt x="23405" y="117025"/>
                  </a:cubicBezTo>
                  <a:lnTo>
                    <a:pt x="7802" y="117025"/>
                  </a:lnTo>
                  <a:cubicBezTo>
                    <a:pt x="3493" y="117025"/>
                    <a:pt x="0" y="113532"/>
                    <a:pt x="0" y="109223"/>
                  </a:cubicBezTo>
                  <a:cubicBezTo>
                    <a:pt x="0" y="104914"/>
                    <a:pt x="3493" y="101422"/>
                    <a:pt x="7802" y="101422"/>
                  </a:cubicBezTo>
                  <a:lnTo>
                    <a:pt x="23405" y="101422"/>
                  </a:lnTo>
                  <a:close/>
                  <a:moveTo>
                    <a:pt x="186460" y="31987"/>
                  </a:moveTo>
                  <a:cubicBezTo>
                    <a:pt x="189508" y="35032"/>
                    <a:pt x="189511" y="39972"/>
                    <a:pt x="186466" y="43020"/>
                  </a:cubicBezTo>
                  <a:cubicBezTo>
                    <a:pt x="186464" y="43022"/>
                    <a:pt x="186462" y="43024"/>
                    <a:pt x="186460" y="43026"/>
                  </a:cubicBezTo>
                  <a:lnTo>
                    <a:pt x="175420" y="54058"/>
                  </a:lnTo>
                  <a:cubicBezTo>
                    <a:pt x="172321" y="57051"/>
                    <a:pt x="167382" y="56965"/>
                    <a:pt x="164389" y="53866"/>
                  </a:cubicBezTo>
                  <a:cubicBezTo>
                    <a:pt x="161469" y="50843"/>
                    <a:pt x="161469" y="46050"/>
                    <a:pt x="164389" y="43026"/>
                  </a:cubicBezTo>
                  <a:lnTo>
                    <a:pt x="175420" y="31987"/>
                  </a:lnTo>
                  <a:cubicBezTo>
                    <a:pt x="178467" y="28941"/>
                    <a:pt x="183405" y="28941"/>
                    <a:pt x="186452" y="31987"/>
                  </a:cubicBezTo>
                  <a:close/>
                  <a:moveTo>
                    <a:pt x="43026" y="31987"/>
                  </a:moveTo>
                  <a:lnTo>
                    <a:pt x="54058" y="43026"/>
                  </a:lnTo>
                  <a:cubicBezTo>
                    <a:pt x="57051" y="46125"/>
                    <a:pt x="56965" y="51064"/>
                    <a:pt x="53866" y="54058"/>
                  </a:cubicBezTo>
                  <a:cubicBezTo>
                    <a:pt x="50843" y="56978"/>
                    <a:pt x="46050" y="56978"/>
                    <a:pt x="43026" y="54058"/>
                  </a:cubicBezTo>
                  <a:lnTo>
                    <a:pt x="31987" y="43026"/>
                  </a:lnTo>
                  <a:cubicBezTo>
                    <a:pt x="28938" y="39978"/>
                    <a:pt x="28938" y="35035"/>
                    <a:pt x="31987" y="31987"/>
                  </a:cubicBezTo>
                  <a:cubicBezTo>
                    <a:pt x="35035" y="28938"/>
                    <a:pt x="39978" y="28938"/>
                    <a:pt x="43026" y="31987"/>
                  </a:cubicBezTo>
                  <a:close/>
                  <a:moveTo>
                    <a:pt x="109223" y="0"/>
                  </a:moveTo>
                  <a:cubicBezTo>
                    <a:pt x="113532" y="0"/>
                    <a:pt x="117025" y="3493"/>
                    <a:pt x="117025" y="7802"/>
                  </a:cubicBezTo>
                  <a:lnTo>
                    <a:pt x="117025" y="23405"/>
                  </a:lnTo>
                  <a:cubicBezTo>
                    <a:pt x="117025" y="27714"/>
                    <a:pt x="113532" y="31207"/>
                    <a:pt x="109223" y="31207"/>
                  </a:cubicBezTo>
                  <a:cubicBezTo>
                    <a:pt x="104914" y="31207"/>
                    <a:pt x="101422" y="27714"/>
                    <a:pt x="101422" y="23405"/>
                  </a:cubicBezTo>
                  <a:lnTo>
                    <a:pt x="101422" y="7802"/>
                  </a:lnTo>
                  <a:cubicBezTo>
                    <a:pt x="101422" y="3493"/>
                    <a:pt x="104914" y="0"/>
                    <a:pt x="109223" y="0"/>
                  </a:cubicBezTo>
                  <a:close/>
                </a:path>
              </a:pathLst>
            </a:custGeom>
            <a:solidFill>
              <a:schemeClr val="bg1"/>
            </a:solidFill>
            <a:ln w="242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1" name="组合 80"/>
          <p:cNvGrpSpPr/>
          <p:nvPr/>
        </p:nvGrpSpPr>
        <p:grpSpPr>
          <a:xfrm>
            <a:off x="314279" y="1240146"/>
            <a:ext cx="5456248" cy="426406"/>
            <a:chOff x="372109" y="1146990"/>
            <a:chExt cx="5456248" cy="426406"/>
          </a:xfrm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grpSpPr>
        <p:grpSp>
          <p:nvGrpSpPr>
            <p:cNvPr id="29" name="组合 28"/>
            <p:cNvGrpSpPr/>
            <p:nvPr/>
          </p:nvGrpSpPr>
          <p:grpSpPr>
            <a:xfrm>
              <a:off x="372109" y="1146990"/>
              <a:ext cx="5456248" cy="426406"/>
              <a:chOff x="372109" y="1146990"/>
              <a:chExt cx="5456248" cy="426406"/>
            </a:xfrm>
          </p:grpSpPr>
          <p:sp>
            <p:nvSpPr>
              <p:cNvPr id="10" name="任意多边形: 形状 9"/>
              <p:cNvSpPr/>
              <p:nvPr/>
            </p:nvSpPr>
            <p:spPr>
              <a:xfrm flipH="1">
                <a:off x="372109" y="1146990"/>
                <a:ext cx="5456248" cy="426406"/>
              </a:xfrm>
              <a:custGeom>
                <a:avLst/>
                <a:gdLst>
                  <a:gd name="csX0" fmla="*/ 5263972 w 5456248"/>
                  <a:gd name="csY0" fmla="*/ 0 h 426406"/>
                  <a:gd name="csX1" fmla="*/ 5173810 w 5456248"/>
                  <a:gd name="csY1" fmla="*/ 0 h 426406"/>
                  <a:gd name="csX2" fmla="*/ 5053544 w 5456248"/>
                  <a:gd name="csY2" fmla="*/ 0 h 426406"/>
                  <a:gd name="csX3" fmla="*/ 4963382 w 5456248"/>
                  <a:gd name="csY3" fmla="*/ 0 h 426406"/>
                  <a:gd name="csX4" fmla="*/ 4893557 w 5456248"/>
                  <a:gd name="csY4" fmla="*/ 0 h 426406"/>
                  <a:gd name="csX5" fmla="*/ 4803395 w 5456248"/>
                  <a:gd name="csY5" fmla="*/ 0 h 426406"/>
                  <a:gd name="csX6" fmla="*/ 4683129 w 5456248"/>
                  <a:gd name="csY6" fmla="*/ 0 h 426406"/>
                  <a:gd name="csX7" fmla="*/ 4603781 w 5456248"/>
                  <a:gd name="csY7" fmla="*/ 0 h 426406"/>
                  <a:gd name="csX8" fmla="*/ 4592967 w 5456248"/>
                  <a:gd name="csY8" fmla="*/ 0 h 426406"/>
                  <a:gd name="csX9" fmla="*/ 4528524 w 5456248"/>
                  <a:gd name="csY9" fmla="*/ 0 h 426406"/>
                  <a:gd name="csX10" fmla="*/ 4513619 w 5456248"/>
                  <a:gd name="csY10" fmla="*/ 0 h 426406"/>
                  <a:gd name="csX11" fmla="*/ 4438362 w 5456248"/>
                  <a:gd name="csY11" fmla="*/ 0 h 426406"/>
                  <a:gd name="csX12" fmla="*/ 4393353 w 5456248"/>
                  <a:gd name="csY12" fmla="*/ 0 h 426406"/>
                  <a:gd name="csX13" fmla="*/ 4318096 w 5456248"/>
                  <a:gd name="csY13" fmla="*/ 0 h 426406"/>
                  <a:gd name="csX14" fmla="*/ 4303191 w 5456248"/>
                  <a:gd name="csY14" fmla="*/ 0 h 426406"/>
                  <a:gd name="csX15" fmla="*/ 4238748 w 5456248"/>
                  <a:gd name="csY15" fmla="*/ 0 h 426406"/>
                  <a:gd name="csX16" fmla="*/ 4227934 w 5456248"/>
                  <a:gd name="csY16" fmla="*/ 0 h 426406"/>
                  <a:gd name="csX17" fmla="*/ 4148586 w 5456248"/>
                  <a:gd name="csY17" fmla="*/ 0 h 426406"/>
                  <a:gd name="csX18" fmla="*/ 4028320 w 5456248"/>
                  <a:gd name="csY18" fmla="*/ 0 h 426406"/>
                  <a:gd name="csX19" fmla="*/ 3938158 w 5456248"/>
                  <a:gd name="csY19" fmla="*/ 0 h 426406"/>
                  <a:gd name="csX20" fmla="*/ 1518090 w 5456248"/>
                  <a:gd name="csY20" fmla="*/ 0 h 426406"/>
                  <a:gd name="csX21" fmla="*/ 1427928 w 5456248"/>
                  <a:gd name="csY21" fmla="*/ 0 h 426406"/>
                  <a:gd name="csX22" fmla="*/ 1307662 w 5456248"/>
                  <a:gd name="csY22" fmla="*/ 0 h 426406"/>
                  <a:gd name="csX23" fmla="*/ 1228315 w 5456248"/>
                  <a:gd name="csY23" fmla="*/ 0 h 426406"/>
                  <a:gd name="csX24" fmla="*/ 1217500 w 5456248"/>
                  <a:gd name="csY24" fmla="*/ 0 h 426406"/>
                  <a:gd name="csX25" fmla="*/ 1153057 w 5456248"/>
                  <a:gd name="csY25" fmla="*/ 0 h 426406"/>
                  <a:gd name="csX26" fmla="*/ 1138153 w 5456248"/>
                  <a:gd name="csY26" fmla="*/ 0 h 426406"/>
                  <a:gd name="csX27" fmla="*/ 1062895 w 5456248"/>
                  <a:gd name="csY27" fmla="*/ 0 h 426406"/>
                  <a:gd name="csX28" fmla="*/ 1017887 w 5456248"/>
                  <a:gd name="csY28" fmla="*/ 0 h 426406"/>
                  <a:gd name="csX29" fmla="*/ 942629 w 5456248"/>
                  <a:gd name="csY29" fmla="*/ 0 h 426406"/>
                  <a:gd name="csX30" fmla="*/ 927725 w 5456248"/>
                  <a:gd name="csY30" fmla="*/ 0 h 426406"/>
                  <a:gd name="csX31" fmla="*/ 863282 w 5456248"/>
                  <a:gd name="csY31" fmla="*/ 0 h 426406"/>
                  <a:gd name="csX32" fmla="*/ 852467 w 5456248"/>
                  <a:gd name="csY32" fmla="*/ 0 h 426406"/>
                  <a:gd name="csX33" fmla="*/ 773120 w 5456248"/>
                  <a:gd name="csY33" fmla="*/ 0 h 426406"/>
                  <a:gd name="csX34" fmla="*/ 652854 w 5456248"/>
                  <a:gd name="csY34" fmla="*/ 0 h 426406"/>
                  <a:gd name="csX35" fmla="*/ 562692 w 5456248"/>
                  <a:gd name="csY35" fmla="*/ 0 h 426406"/>
                  <a:gd name="csX36" fmla="*/ 492866 w 5456248"/>
                  <a:gd name="csY36" fmla="*/ 0 h 426406"/>
                  <a:gd name="csX37" fmla="*/ 402704 w 5456248"/>
                  <a:gd name="csY37" fmla="*/ 0 h 426406"/>
                  <a:gd name="csX38" fmla="*/ 282438 w 5456248"/>
                  <a:gd name="csY38" fmla="*/ 0 h 426406"/>
                  <a:gd name="csX39" fmla="*/ 192276 w 5456248"/>
                  <a:gd name="csY39" fmla="*/ 0 h 426406"/>
                  <a:gd name="csX40" fmla="*/ 141311 w 5456248"/>
                  <a:gd name="csY40" fmla="*/ 23432 h 426406"/>
                  <a:gd name="csX41" fmla="*/ 15431 w 5456248"/>
                  <a:gd name="csY41" fmla="*/ 171425 h 426406"/>
                  <a:gd name="csX42" fmla="*/ 0 w 5456248"/>
                  <a:gd name="csY42" fmla="*/ 213135 h 426406"/>
                  <a:gd name="csX43" fmla="*/ 0 w 5456248"/>
                  <a:gd name="csY43" fmla="*/ 213136 h 426406"/>
                  <a:gd name="csX44" fmla="*/ 15431 w 5456248"/>
                  <a:gd name="csY44" fmla="*/ 254903 h 426406"/>
                  <a:gd name="csX45" fmla="*/ 141311 w 5456248"/>
                  <a:gd name="csY45" fmla="*/ 402974 h 426406"/>
                  <a:gd name="csX46" fmla="*/ 192276 w 5456248"/>
                  <a:gd name="csY46" fmla="*/ 426406 h 426406"/>
                  <a:gd name="csX47" fmla="*/ 282438 w 5456248"/>
                  <a:gd name="csY47" fmla="*/ 426406 h 426406"/>
                  <a:gd name="csX48" fmla="*/ 402704 w 5456248"/>
                  <a:gd name="csY48" fmla="*/ 426406 h 426406"/>
                  <a:gd name="csX49" fmla="*/ 492866 w 5456248"/>
                  <a:gd name="csY49" fmla="*/ 426406 h 426406"/>
                  <a:gd name="csX50" fmla="*/ 562692 w 5456248"/>
                  <a:gd name="csY50" fmla="*/ 426406 h 426406"/>
                  <a:gd name="csX51" fmla="*/ 652854 w 5456248"/>
                  <a:gd name="csY51" fmla="*/ 426406 h 426406"/>
                  <a:gd name="csX52" fmla="*/ 773120 w 5456248"/>
                  <a:gd name="csY52" fmla="*/ 426406 h 426406"/>
                  <a:gd name="csX53" fmla="*/ 852467 w 5456248"/>
                  <a:gd name="csY53" fmla="*/ 426406 h 426406"/>
                  <a:gd name="csX54" fmla="*/ 863282 w 5456248"/>
                  <a:gd name="csY54" fmla="*/ 426406 h 426406"/>
                  <a:gd name="csX55" fmla="*/ 927725 w 5456248"/>
                  <a:gd name="csY55" fmla="*/ 426406 h 426406"/>
                  <a:gd name="csX56" fmla="*/ 942629 w 5456248"/>
                  <a:gd name="csY56" fmla="*/ 426406 h 426406"/>
                  <a:gd name="csX57" fmla="*/ 1017887 w 5456248"/>
                  <a:gd name="csY57" fmla="*/ 426406 h 426406"/>
                  <a:gd name="csX58" fmla="*/ 1062895 w 5456248"/>
                  <a:gd name="csY58" fmla="*/ 426406 h 426406"/>
                  <a:gd name="csX59" fmla="*/ 1138153 w 5456248"/>
                  <a:gd name="csY59" fmla="*/ 426406 h 426406"/>
                  <a:gd name="csX60" fmla="*/ 1153057 w 5456248"/>
                  <a:gd name="csY60" fmla="*/ 426406 h 426406"/>
                  <a:gd name="csX61" fmla="*/ 1217500 w 5456248"/>
                  <a:gd name="csY61" fmla="*/ 426406 h 426406"/>
                  <a:gd name="csX62" fmla="*/ 1228315 w 5456248"/>
                  <a:gd name="csY62" fmla="*/ 426406 h 426406"/>
                  <a:gd name="csX63" fmla="*/ 1307662 w 5456248"/>
                  <a:gd name="csY63" fmla="*/ 426406 h 426406"/>
                  <a:gd name="csX64" fmla="*/ 1427928 w 5456248"/>
                  <a:gd name="csY64" fmla="*/ 426406 h 426406"/>
                  <a:gd name="csX65" fmla="*/ 1518090 w 5456248"/>
                  <a:gd name="csY65" fmla="*/ 426406 h 426406"/>
                  <a:gd name="csX66" fmla="*/ 3938158 w 5456248"/>
                  <a:gd name="csY66" fmla="*/ 426406 h 426406"/>
                  <a:gd name="csX67" fmla="*/ 4028320 w 5456248"/>
                  <a:gd name="csY67" fmla="*/ 426406 h 426406"/>
                  <a:gd name="csX68" fmla="*/ 4148586 w 5456248"/>
                  <a:gd name="csY68" fmla="*/ 426406 h 426406"/>
                  <a:gd name="csX69" fmla="*/ 4227934 w 5456248"/>
                  <a:gd name="csY69" fmla="*/ 426406 h 426406"/>
                  <a:gd name="csX70" fmla="*/ 4238748 w 5456248"/>
                  <a:gd name="csY70" fmla="*/ 426406 h 426406"/>
                  <a:gd name="csX71" fmla="*/ 4303191 w 5456248"/>
                  <a:gd name="csY71" fmla="*/ 426406 h 426406"/>
                  <a:gd name="csX72" fmla="*/ 4318096 w 5456248"/>
                  <a:gd name="csY72" fmla="*/ 426406 h 426406"/>
                  <a:gd name="csX73" fmla="*/ 4393353 w 5456248"/>
                  <a:gd name="csY73" fmla="*/ 426406 h 426406"/>
                  <a:gd name="csX74" fmla="*/ 4438362 w 5456248"/>
                  <a:gd name="csY74" fmla="*/ 426406 h 426406"/>
                  <a:gd name="csX75" fmla="*/ 4513619 w 5456248"/>
                  <a:gd name="csY75" fmla="*/ 426406 h 426406"/>
                  <a:gd name="csX76" fmla="*/ 4528524 w 5456248"/>
                  <a:gd name="csY76" fmla="*/ 426406 h 426406"/>
                  <a:gd name="csX77" fmla="*/ 4592967 w 5456248"/>
                  <a:gd name="csY77" fmla="*/ 426406 h 426406"/>
                  <a:gd name="csX78" fmla="*/ 4603781 w 5456248"/>
                  <a:gd name="csY78" fmla="*/ 426406 h 426406"/>
                  <a:gd name="csX79" fmla="*/ 4683129 w 5456248"/>
                  <a:gd name="csY79" fmla="*/ 426406 h 426406"/>
                  <a:gd name="csX80" fmla="*/ 4803395 w 5456248"/>
                  <a:gd name="csY80" fmla="*/ 426406 h 426406"/>
                  <a:gd name="csX81" fmla="*/ 4893557 w 5456248"/>
                  <a:gd name="csY81" fmla="*/ 426406 h 426406"/>
                  <a:gd name="csX82" fmla="*/ 4963382 w 5456248"/>
                  <a:gd name="csY82" fmla="*/ 426406 h 426406"/>
                  <a:gd name="csX83" fmla="*/ 5053544 w 5456248"/>
                  <a:gd name="csY83" fmla="*/ 426406 h 426406"/>
                  <a:gd name="csX84" fmla="*/ 5173810 w 5456248"/>
                  <a:gd name="csY84" fmla="*/ 426406 h 426406"/>
                  <a:gd name="csX85" fmla="*/ 5263972 w 5456248"/>
                  <a:gd name="csY85" fmla="*/ 426406 h 426406"/>
                  <a:gd name="csX86" fmla="*/ 5314937 w 5456248"/>
                  <a:gd name="csY86" fmla="*/ 402974 h 426406"/>
                  <a:gd name="csX87" fmla="*/ 5440817 w 5456248"/>
                  <a:gd name="csY87" fmla="*/ 254903 h 426406"/>
                  <a:gd name="csX88" fmla="*/ 5456248 w 5456248"/>
                  <a:gd name="csY88" fmla="*/ 213136 h 426406"/>
                  <a:gd name="csX89" fmla="*/ 5456248 w 5456248"/>
                  <a:gd name="csY89" fmla="*/ 213135 h 426406"/>
                  <a:gd name="csX90" fmla="*/ 5440817 w 5456248"/>
                  <a:gd name="csY90" fmla="*/ 171425 h 426406"/>
                  <a:gd name="csX91" fmla="*/ 5314937 w 5456248"/>
                  <a:gd name="csY91" fmla="*/ 23432 h 426406"/>
                  <a:gd name="csX92" fmla="*/ 5263972 w 5456248"/>
                  <a:gd name="csY92" fmla="*/ 0 h 4264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  <a:cxn ang="0">
                    <a:pos x="csX90" y="csY90"/>
                  </a:cxn>
                  <a:cxn ang="0">
                    <a:pos x="csX91" y="csY91"/>
                  </a:cxn>
                  <a:cxn ang="0">
                    <a:pos x="csX92" y="csY92"/>
                  </a:cxn>
                </a:cxnLst>
                <a:rect l="l" t="t" r="r" b="b"/>
                <a:pathLst>
                  <a:path w="5456248" h="426406">
                    <a:moveTo>
                      <a:pt x="5263972" y="0"/>
                    </a:moveTo>
                    <a:lnTo>
                      <a:pt x="5173810" y="0"/>
                    </a:lnTo>
                    <a:lnTo>
                      <a:pt x="5053544" y="0"/>
                    </a:lnTo>
                    <a:lnTo>
                      <a:pt x="4963382" y="0"/>
                    </a:lnTo>
                    <a:lnTo>
                      <a:pt x="4893557" y="0"/>
                    </a:lnTo>
                    <a:lnTo>
                      <a:pt x="4803395" y="0"/>
                    </a:lnTo>
                    <a:lnTo>
                      <a:pt x="4683129" y="0"/>
                    </a:lnTo>
                    <a:lnTo>
                      <a:pt x="4603781" y="0"/>
                    </a:lnTo>
                    <a:lnTo>
                      <a:pt x="4592967" y="0"/>
                    </a:lnTo>
                    <a:lnTo>
                      <a:pt x="4528524" y="0"/>
                    </a:lnTo>
                    <a:lnTo>
                      <a:pt x="4513619" y="0"/>
                    </a:lnTo>
                    <a:lnTo>
                      <a:pt x="4438362" y="0"/>
                    </a:lnTo>
                    <a:lnTo>
                      <a:pt x="4393353" y="0"/>
                    </a:lnTo>
                    <a:lnTo>
                      <a:pt x="4318096" y="0"/>
                    </a:lnTo>
                    <a:lnTo>
                      <a:pt x="4303191" y="0"/>
                    </a:lnTo>
                    <a:lnTo>
                      <a:pt x="4238748" y="0"/>
                    </a:lnTo>
                    <a:lnTo>
                      <a:pt x="4227934" y="0"/>
                    </a:lnTo>
                    <a:lnTo>
                      <a:pt x="4148586" y="0"/>
                    </a:lnTo>
                    <a:lnTo>
                      <a:pt x="4028320" y="0"/>
                    </a:lnTo>
                    <a:lnTo>
                      <a:pt x="3938158" y="0"/>
                    </a:lnTo>
                    <a:lnTo>
                      <a:pt x="1518090" y="0"/>
                    </a:lnTo>
                    <a:lnTo>
                      <a:pt x="1427928" y="0"/>
                    </a:lnTo>
                    <a:lnTo>
                      <a:pt x="1307662" y="0"/>
                    </a:lnTo>
                    <a:lnTo>
                      <a:pt x="1228315" y="0"/>
                    </a:lnTo>
                    <a:lnTo>
                      <a:pt x="1217500" y="0"/>
                    </a:lnTo>
                    <a:lnTo>
                      <a:pt x="1153057" y="0"/>
                    </a:lnTo>
                    <a:lnTo>
                      <a:pt x="1138153" y="0"/>
                    </a:lnTo>
                    <a:lnTo>
                      <a:pt x="1062895" y="0"/>
                    </a:lnTo>
                    <a:lnTo>
                      <a:pt x="1017887" y="0"/>
                    </a:lnTo>
                    <a:lnTo>
                      <a:pt x="942629" y="0"/>
                    </a:lnTo>
                    <a:lnTo>
                      <a:pt x="927725" y="0"/>
                    </a:lnTo>
                    <a:lnTo>
                      <a:pt x="863282" y="0"/>
                    </a:lnTo>
                    <a:lnTo>
                      <a:pt x="852467" y="0"/>
                    </a:lnTo>
                    <a:lnTo>
                      <a:pt x="773120" y="0"/>
                    </a:lnTo>
                    <a:lnTo>
                      <a:pt x="652854" y="0"/>
                    </a:lnTo>
                    <a:lnTo>
                      <a:pt x="562692" y="0"/>
                    </a:lnTo>
                    <a:lnTo>
                      <a:pt x="492866" y="0"/>
                    </a:lnTo>
                    <a:lnTo>
                      <a:pt x="402704" y="0"/>
                    </a:lnTo>
                    <a:lnTo>
                      <a:pt x="282438" y="0"/>
                    </a:lnTo>
                    <a:lnTo>
                      <a:pt x="192276" y="0"/>
                    </a:lnTo>
                    <a:cubicBezTo>
                      <a:pt x="172644" y="0"/>
                      <a:pt x="153954" y="8556"/>
                      <a:pt x="141311" y="23432"/>
                    </a:cubicBezTo>
                    <a:lnTo>
                      <a:pt x="15431" y="171425"/>
                    </a:lnTo>
                    <a:lnTo>
                      <a:pt x="0" y="213135"/>
                    </a:lnTo>
                    <a:lnTo>
                      <a:pt x="0" y="213136"/>
                    </a:lnTo>
                    <a:lnTo>
                      <a:pt x="15431" y="254903"/>
                    </a:lnTo>
                    <a:lnTo>
                      <a:pt x="141311" y="402974"/>
                    </a:lnTo>
                    <a:cubicBezTo>
                      <a:pt x="153954" y="417851"/>
                      <a:pt x="172566" y="426406"/>
                      <a:pt x="192276" y="426406"/>
                    </a:cubicBezTo>
                    <a:lnTo>
                      <a:pt x="282438" y="426406"/>
                    </a:lnTo>
                    <a:lnTo>
                      <a:pt x="402704" y="426406"/>
                    </a:lnTo>
                    <a:lnTo>
                      <a:pt x="492866" y="426406"/>
                    </a:lnTo>
                    <a:lnTo>
                      <a:pt x="562692" y="426406"/>
                    </a:lnTo>
                    <a:lnTo>
                      <a:pt x="652854" y="426406"/>
                    </a:lnTo>
                    <a:lnTo>
                      <a:pt x="773120" y="426406"/>
                    </a:lnTo>
                    <a:lnTo>
                      <a:pt x="852467" y="426406"/>
                    </a:lnTo>
                    <a:lnTo>
                      <a:pt x="863282" y="426406"/>
                    </a:lnTo>
                    <a:lnTo>
                      <a:pt x="927725" y="426406"/>
                    </a:lnTo>
                    <a:lnTo>
                      <a:pt x="942629" y="426406"/>
                    </a:lnTo>
                    <a:lnTo>
                      <a:pt x="1017887" y="426406"/>
                    </a:lnTo>
                    <a:lnTo>
                      <a:pt x="1062895" y="426406"/>
                    </a:lnTo>
                    <a:lnTo>
                      <a:pt x="1138153" y="426406"/>
                    </a:lnTo>
                    <a:lnTo>
                      <a:pt x="1153057" y="426406"/>
                    </a:lnTo>
                    <a:lnTo>
                      <a:pt x="1217500" y="426406"/>
                    </a:lnTo>
                    <a:lnTo>
                      <a:pt x="1228315" y="426406"/>
                    </a:lnTo>
                    <a:lnTo>
                      <a:pt x="1307662" y="426406"/>
                    </a:lnTo>
                    <a:lnTo>
                      <a:pt x="1427928" y="426406"/>
                    </a:lnTo>
                    <a:lnTo>
                      <a:pt x="1518090" y="426406"/>
                    </a:lnTo>
                    <a:lnTo>
                      <a:pt x="3938158" y="426406"/>
                    </a:lnTo>
                    <a:lnTo>
                      <a:pt x="4028320" y="426406"/>
                    </a:lnTo>
                    <a:lnTo>
                      <a:pt x="4148586" y="426406"/>
                    </a:lnTo>
                    <a:lnTo>
                      <a:pt x="4227934" y="426406"/>
                    </a:lnTo>
                    <a:lnTo>
                      <a:pt x="4238748" y="426406"/>
                    </a:lnTo>
                    <a:lnTo>
                      <a:pt x="4303191" y="426406"/>
                    </a:lnTo>
                    <a:lnTo>
                      <a:pt x="4318096" y="426406"/>
                    </a:lnTo>
                    <a:lnTo>
                      <a:pt x="4393353" y="426406"/>
                    </a:lnTo>
                    <a:lnTo>
                      <a:pt x="4438362" y="426406"/>
                    </a:lnTo>
                    <a:lnTo>
                      <a:pt x="4513619" y="426406"/>
                    </a:lnTo>
                    <a:lnTo>
                      <a:pt x="4528524" y="426406"/>
                    </a:lnTo>
                    <a:lnTo>
                      <a:pt x="4592967" y="426406"/>
                    </a:lnTo>
                    <a:lnTo>
                      <a:pt x="4603781" y="426406"/>
                    </a:lnTo>
                    <a:lnTo>
                      <a:pt x="4683129" y="426406"/>
                    </a:lnTo>
                    <a:lnTo>
                      <a:pt x="4803395" y="426406"/>
                    </a:lnTo>
                    <a:lnTo>
                      <a:pt x="4893557" y="426406"/>
                    </a:lnTo>
                    <a:lnTo>
                      <a:pt x="4963382" y="426406"/>
                    </a:lnTo>
                    <a:lnTo>
                      <a:pt x="5053544" y="426406"/>
                    </a:lnTo>
                    <a:lnTo>
                      <a:pt x="5173810" y="426406"/>
                    </a:lnTo>
                    <a:lnTo>
                      <a:pt x="5263972" y="426406"/>
                    </a:lnTo>
                    <a:cubicBezTo>
                      <a:pt x="5283682" y="426406"/>
                      <a:pt x="5302294" y="417851"/>
                      <a:pt x="5314937" y="402974"/>
                    </a:cubicBezTo>
                    <a:lnTo>
                      <a:pt x="5440817" y="254903"/>
                    </a:lnTo>
                    <a:lnTo>
                      <a:pt x="5456248" y="213136"/>
                    </a:lnTo>
                    <a:lnTo>
                      <a:pt x="5456248" y="213135"/>
                    </a:lnTo>
                    <a:lnTo>
                      <a:pt x="5440817" y="171425"/>
                    </a:lnTo>
                    <a:lnTo>
                      <a:pt x="5314937" y="23432"/>
                    </a:lnTo>
                    <a:cubicBezTo>
                      <a:pt x="5302294" y="8556"/>
                      <a:pt x="5283604" y="0"/>
                      <a:pt x="5263972" y="0"/>
                    </a:cubicBezTo>
                    <a:close/>
                  </a:path>
                </a:pathLst>
              </a:custGeom>
              <a:solidFill>
                <a:srgbClr val="EFF7FE"/>
              </a:solidFill>
              <a:ln>
                <a:noFill/>
              </a:ln>
              <a:effectLst/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/>
                <a:endPara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endParaRPr>
              </a:p>
            </p:txBody>
          </p:sp>
          <p:sp>
            <p:nvSpPr>
              <p:cNvPr id="28" name="文本框 27"/>
              <p:cNvSpPr txBox="1"/>
              <p:nvPr/>
            </p:nvSpPr>
            <p:spPr>
              <a:xfrm>
                <a:off x="2470389" y="1191601"/>
                <a:ext cx="2711211" cy="337185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>
                <a:defPPr>
                  <a:defRPr lang="zh-CN"/>
                </a:defPPr>
                <a:lvl1pPr marL="71755" indent="0">
                  <a:lnSpc>
                    <a:spcPct val="100000"/>
                  </a:lnSpc>
                  <a:buNone/>
                  <a:defRPr sz="2400" b="1">
                    <a:gradFill>
                      <a:gsLst>
                        <a:gs pos="50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</a:defRPr>
                </a:lvl1pPr>
              </a:lstStyle>
              <a:p>
                <a:r>
                  <a:rPr lang="zh-CN" altLang="en-US" sz="1600"/>
                  <a:t>全年龄段可用</a:t>
                </a:r>
                <a:endParaRPr lang="zh-CN" altLang="en-US" sz="1600"/>
              </a:p>
            </p:txBody>
          </p:sp>
        </p:grpSp>
        <p:sp>
          <p:nvSpPr>
            <p:cNvPr id="37" name="任意多边形: 形状 36"/>
            <p:cNvSpPr/>
            <p:nvPr/>
          </p:nvSpPr>
          <p:spPr>
            <a:xfrm flipH="1">
              <a:off x="372109" y="1146990"/>
              <a:ext cx="2028436" cy="426406"/>
            </a:xfrm>
            <a:custGeom>
              <a:avLst/>
              <a:gdLst>
                <a:gd name="csX0" fmla="*/ 1836160 w 2028436"/>
                <a:gd name="csY0" fmla="*/ 0 h 426406"/>
                <a:gd name="csX1" fmla="*/ 1745998 w 2028436"/>
                <a:gd name="csY1" fmla="*/ 0 h 426406"/>
                <a:gd name="csX2" fmla="*/ 1625732 w 2028436"/>
                <a:gd name="csY2" fmla="*/ 0 h 426406"/>
                <a:gd name="csX3" fmla="*/ 1535570 w 2028436"/>
                <a:gd name="csY3" fmla="*/ 0 h 426406"/>
                <a:gd name="csX4" fmla="*/ 1518090 w 2028436"/>
                <a:gd name="csY4" fmla="*/ 0 h 426406"/>
                <a:gd name="csX5" fmla="*/ 1465745 w 2028436"/>
                <a:gd name="csY5" fmla="*/ 0 h 426406"/>
                <a:gd name="csX6" fmla="*/ 1427928 w 2028436"/>
                <a:gd name="csY6" fmla="*/ 0 h 426406"/>
                <a:gd name="csX7" fmla="*/ 1375583 w 2028436"/>
                <a:gd name="csY7" fmla="*/ 0 h 426406"/>
                <a:gd name="csX8" fmla="*/ 1307662 w 2028436"/>
                <a:gd name="csY8" fmla="*/ 0 h 426406"/>
                <a:gd name="csX9" fmla="*/ 1255317 w 2028436"/>
                <a:gd name="csY9" fmla="*/ 0 h 426406"/>
                <a:gd name="csX10" fmla="*/ 1228315 w 2028436"/>
                <a:gd name="csY10" fmla="*/ 0 h 426406"/>
                <a:gd name="csX11" fmla="*/ 1217500 w 2028436"/>
                <a:gd name="csY11" fmla="*/ 0 h 426406"/>
                <a:gd name="csX12" fmla="*/ 1175969 w 2028436"/>
                <a:gd name="csY12" fmla="*/ 0 h 426406"/>
                <a:gd name="csX13" fmla="*/ 1165155 w 2028436"/>
                <a:gd name="csY13" fmla="*/ 0 h 426406"/>
                <a:gd name="csX14" fmla="*/ 1153057 w 2028436"/>
                <a:gd name="csY14" fmla="*/ 0 h 426406"/>
                <a:gd name="csX15" fmla="*/ 1138153 w 2028436"/>
                <a:gd name="csY15" fmla="*/ 0 h 426406"/>
                <a:gd name="csX16" fmla="*/ 1100712 w 2028436"/>
                <a:gd name="csY16" fmla="*/ 0 h 426406"/>
                <a:gd name="csX17" fmla="*/ 1085807 w 2028436"/>
                <a:gd name="csY17" fmla="*/ 0 h 426406"/>
                <a:gd name="csX18" fmla="*/ 1062895 w 2028436"/>
                <a:gd name="csY18" fmla="*/ 0 h 426406"/>
                <a:gd name="csX19" fmla="*/ 1017887 w 2028436"/>
                <a:gd name="csY19" fmla="*/ 0 h 426406"/>
                <a:gd name="csX20" fmla="*/ 1010550 w 2028436"/>
                <a:gd name="csY20" fmla="*/ 0 h 426406"/>
                <a:gd name="csX21" fmla="*/ 965541 w 2028436"/>
                <a:gd name="csY21" fmla="*/ 0 h 426406"/>
                <a:gd name="csX22" fmla="*/ 942629 w 2028436"/>
                <a:gd name="csY22" fmla="*/ 0 h 426406"/>
                <a:gd name="csX23" fmla="*/ 927725 w 2028436"/>
                <a:gd name="csY23" fmla="*/ 0 h 426406"/>
                <a:gd name="csX24" fmla="*/ 890284 w 2028436"/>
                <a:gd name="csY24" fmla="*/ 0 h 426406"/>
                <a:gd name="csX25" fmla="*/ 875379 w 2028436"/>
                <a:gd name="csY25" fmla="*/ 0 h 426406"/>
                <a:gd name="csX26" fmla="*/ 863282 w 2028436"/>
                <a:gd name="csY26" fmla="*/ 0 h 426406"/>
                <a:gd name="csX27" fmla="*/ 852467 w 2028436"/>
                <a:gd name="csY27" fmla="*/ 0 h 426406"/>
                <a:gd name="csX28" fmla="*/ 810936 w 2028436"/>
                <a:gd name="csY28" fmla="*/ 0 h 426406"/>
                <a:gd name="csX29" fmla="*/ 800122 w 2028436"/>
                <a:gd name="csY29" fmla="*/ 0 h 426406"/>
                <a:gd name="csX30" fmla="*/ 773120 w 2028436"/>
                <a:gd name="csY30" fmla="*/ 0 h 426406"/>
                <a:gd name="csX31" fmla="*/ 720774 w 2028436"/>
                <a:gd name="csY31" fmla="*/ 0 h 426406"/>
                <a:gd name="csX32" fmla="*/ 652854 w 2028436"/>
                <a:gd name="csY32" fmla="*/ 0 h 426406"/>
                <a:gd name="csX33" fmla="*/ 600508 w 2028436"/>
                <a:gd name="csY33" fmla="*/ 0 h 426406"/>
                <a:gd name="csX34" fmla="*/ 562692 w 2028436"/>
                <a:gd name="csY34" fmla="*/ 0 h 426406"/>
                <a:gd name="csX35" fmla="*/ 510346 w 2028436"/>
                <a:gd name="csY35" fmla="*/ 0 h 426406"/>
                <a:gd name="csX36" fmla="*/ 492866 w 2028436"/>
                <a:gd name="csY36" fmla="*/ 0 h 426406"/>
                <a:gd name="csX37" fmla="*/ 402704 w 2028436"/>
                <a:gd name="csY37" fmla="*/ 0 h 426406"/>
                <a:gd name="csX38" fmla="*/ 282438 w 2028436"/>
                <a:gd name="csY38" fmla="*/ 0 h 426406"/>
                <a:gd name="csX39" fmla="*/ 192276 w 2028436"/>
                <a:gd name="csY39" fmla="*/ 0 h 426406"/>
                <a:gd name="csX40" fmla="*/ 141311 w 2028436"/>
                <a:gd name="csY40" fmla="*/ 23432 h 426406"/>
                <a:gd name="csX41" fmla="*/ 15431 w 2028436"/>
                <a:gd name="csY41" fmla="*/ 171425 h 426406"/>
                <a:gd name="csX42" fmla="*/ 0 w 2028436"/>
                <a:gd name="csY42" fmla="*/ 213135 h 426406"/>
                <a:gd name="csX43" fmla="*/ 0 w 2028436"/>
                <a:gd name="csY43" fmla="*/ 213136 h 426406"/>
                <a:gd name="csX44" fmla="*/ 15431 w 2028436"/>
                <a:gd name="csY44" fmla="*/ 254903 h 426406"/>
                <a:gd name="csX45" fmla="*/ 141311 w 2028436"/>
                <a:gd name="csY45" fmla="*/ 402974 h 426406"/>
                <a:gd name="csX46" fmla="*/ 192276 w 2028436"/>
                <a:gd name="csY46" fmla="*/ 426406 h 426406"/>
                <a:gd name="csX47" fmla="*/ 282438 w 2028436"/>
                <a:gd name="csY47" fmla="*/ 426406 h 426406"/>
                <a:gd name="csX48" fmla="*/ 402704 w 2028436"/>
                <a:gd name="csY48" fmla="*/ 426406 h 426406"/>
                <a:gd name="csX49" fmla="*/ 492866 w 2028436"/>
                <a:gd name="csY49" fmla="*/ 426406 h 426406"/>
                <a:gd name="csX50" fmla="*/ 510346 w 2028436"/>
                <a:gd name="csY50" fmla="*/ 426406 h 426406"/>
                <a:gd name="csX51" fmla="*/ 562692 w 2028436"/>
                <a:gd name="csY51" fmla="*/ 426406 h 426406"/>
                <a:gd name="csX52" fmla="*/ 600508 w 2028436"/>
                <a:gd name="csY52" fmla="*/ 426406 h 426406"/>
                <a:gd name="csX53" fmla="*/ 652854 w 2028436"/>
                <a:gd name="csY53" fmla="*/ 426406 h 426406"/>
                <a:gd name="csX54" fmla="*/ 720774 w 2028436"/>
                <a:gd name="csY54" fmla="*/ 426406 h 426406"/>
                <a:gd name="csX55" fmla="*/ 773120 w 2028436"/>
                <a:gd name="csY55" fmla="*/ 426406 h 426406"/>
                <a:gd name="csX56" fmla="*/ 800122 w 2028436"/>
                <a:gd name="csY56" fmla="*/ 426406 h 426406"/>
                <a:gd name="csX57" fmla="*/ 810936 w 2028436"/>
                <a:gd name="csY57" fmla="*/ 426406 h 426406"/>
                <a:gd name="csX58" fmla="*/ 852467 w 2028436"/>
                <a:gd name="csY58" fmla="*/ 426406 h 426406"/>
                <a:gd name="csX59" fmla="*/ 863282 w 2028436"/>
                <a:gd name="csY59" fmla="*/ 426406 h 426406"/>
                <a:gd name="csX60" fmla="*/ 875379 w 2028436"/>
                <a:gd name="csY60" fmla="*/ 426406 h 426406"/>
                <a:gd name="csX61" fmla="*/ 890284 w 2028436"/>
                <a:gd name="csY61" fmla="*/ 426406 h 426406"/>
                <a:gd name="csX62" fmla="*/ 927725 w 2028436"/>
                <a:gd name="csY62" fmla="*/ 426406 h 426406"/>
                <a:gd name="csX63" fmla="*/ 942629 w 2028436"/>
                <a:gd name="csY63" fmla="*/ 426406 h 426406"/>
                <a:gd name="csX64" fmla="*/ 965541 w 2028436"/>
                <a:gd name="csY64" fmla="*/ 426406 h 426406"/>
                <a:gd name="csX65" fmla="*/ 1010550 w 2028436"/>
                <a:gd name="csY65" fmla="*/ 426406 h 426406"/>
                <a:gd name="csX66" fmla="*/ 1017887 w 2028436"/>
                <a:gd name="csY66" fmla="*/ 426406 h 426406"/>
                <a:gd name="csX67" fmla="*/ 1062895 w 2028436"/>
                <a:gd name="csY67" fmla="*/ 426406 h 426406"/>
                <a:gd name="csX68" fmla="*/ 1085807 w 2028436"/>
                <a:gd name="csY68" fmla="*/ 426406 h 426406"/>
                <a:gd name="csX69" fmla="*/ 1100712 w 2028436"/>
                <a:gd name="csY69" fmla="*/ 426406 h 426406"/>
                <a:gd name="csX70" fmla="*/ 1138153 w 2028436"/>
                <a:gd name="csY70" fmla="*/ 426406 h 426406"/>
                <a:gd name="csX71" fmla="*/ 1153057 w 2028436"/>
                <a:gd name="csY71" fmla="*/ 426406 h 426406"/>
                <a:gd name="csX72" fmla="*/ 1165155 w 2028436"/>
                <a:gd name="csY72" fmla="*/ 426406 h 426406"/>
                <a:gd name="csX73" fmla="*/ 1175969 w 2028436"/>
                <a:gd name="csY73" fmla="*/ 426406 h 426406"/>
                <a:gd name="csX74" fmla="*/ 1217500 w 2028436"/>
                <a:gd name="csY74" fmla="*/ 426406 h 426406"/>
                <a:gd name="csX75" fmla="*/ 1228315 w 2028436"/>
                <a:gd name="csY75" fmla="*/ 426406 h 426406"/>
                <a:gd name="csX76" fmla="*/ 1255317 w 2028436"/>
                <a:gd name="csY76" fmla="*/ 426406 h 426406"/>
                <a:gd name="csX77" fmla="*/ 1307662 w 2028436"/>
                <a:gd name="csY77" fmla="*/ 426406 h 426406"/>
                <a:gd name="csX78" fmla="*/ 1375583 w 2028436"/>
                <a:gd name="csY78" fmla="*/ 426406 h 426406"/>
                <a:gd name="csX79" fmla="*/ 1427928 w 2028436"/>
                <a:gd name="csY79" fmla="*/ 426406 h 426406"/>
                <a:gd name="csX80" fmla="*/ 1465745 w 2028436"/>
                <a:gd name="csY80" fmla="*/ 426406 h 426406"/>
                <a:gd name="csX81" fmla="*/ 1518090 w 2028436"/>
                <a:gd name="csY81" fmla="*/ 426406 h 426406"/>
                <a:gd name="csX82" fmla="*/ 1535570 w 2028436"/>
                <a:gd name="csY82" fmla="*/ 426406 h 426406"/>
                <a:gd name="csX83" fmla="*/ 1625732 w 2028436"/>
                <a:gd name="csY83" fmla="*/ 426406 h 426406"/>
                <a:gd name="csX84" fmla="*/ 1745998 w 2028436"/>
                <a:gd name="csY84" fmla="*/ 426406 h 426406"/>
                <a:gd name="csX85" fmla="*/ 1836160 w 2028436"/>
                <a:gd name="csY85" fmla="*/ 426406 h 426406"/>
                <a:gd name="csX86" fmla="*/ 1887125 w 2028436"/>
                <a:gd name="csY86" fmla="*/ 402974 h 426406"/>
                <a:gd name="csX87" fmla="*/ 2013005 w 2028436"/>
                <a:gd name="csY87" fmla="*/ 254903 h 426406"/>
                <a:gd name="csX88" fmla="*/ 2028436 w 2028436"/>
                <a:gd name="csY88" fmla="*/ 213136 h 426406"/>
                <a:gd name="csX89" fmla="*/ 2028436 w 2028436"/>
                <a:gd name="csY89" fmla="*/ 213135 h 426406"/>
                <a:gd name="csX90" fmla="*/ 2013005 w 2028436"/>
                <a:gd name="csY90" fmla="*/ 171425 h 426406"/>
                <a:gd name="csX91" fmla="*/ 1887125 w 2028436"/>
                <a:gd name="csY91" fmla="*/ 23432 h 426406"/>
                <a:gd name="csX92" fmla="*/ 1836160 w 2028436"/>
                <a:gd name="csY92" fmla="*/ 0 h 426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</a:cxnLst>
              <a:rect l="l" t="t" r="r" b="b"/>
              <a:pathLst>
                <a:path w="2028436" h="426406">
                  <a:moveTo>
                    <a:pt x="1836160" y="0"/>
                  </a:moveTo>
                  <a:lnTo>
                    <a:pt x="1745998" y="0"/>
                  </a:lnTo>
                  <a:lnTo>
                    <a:pt x="1625732" y="0"/>
                  </a:lnTo>
                  <a:lnTo>
                    <a:pt x="1535570" y="0"/>
                  </a:lnTo>
                  <a:lnTo>
                    <a:pt x="1518090" y="0"/>
                  </a:lnTo>
                  <a:lnTo>
                    <a:pt x="1465745" y="0"/>
                  </a:lnTo>
                  <a:lnTo>
                    <a:pt x="1427928" y="0"/>
                  </a:lnTo>
                  <a:lnTo>
                    <a:pt x="1375583" y="0"/>
                  </a:lnTo>
                  <a:lnTo>
                    <a:pt x="1307662" y="0"/>
                  </a:lnTo>
                  <a:lnTo>
                    <a:pt x="1255317" y="0"/>
                  </a:lnTo>
                  <a:lnTo>
                    <a:pt x="1228315" y="0"/>
                  </a:lnTo>
                  <a:lnTo>
                    <a:pt x="1217500" y="0"/>
                  </a:lnTo>
                  <a:lnTo>
                    <a:pt x="1175969" y="0"/>
                  </a:lnTo>
                  <a:lnTo>
                    <a:pt x="1165155" y="0"/>
                  </a:lnTo>
                  <a:lnTo>
                    <a:pt x="1153057" y="0"/>
                  </a:lnTo>
                  <a:lnTo>
                    <a:pt x="1138153" y="0"/>
                  </a:lnTo>
                  <a:lnTo>
                    <a:pt x="1100712" y="0"/>
                  </a:lnTo>
                  <a:lnTo>
                    <a:pt x="1085807" y="0"/>
                  </a:lnTo>
                  <a:lnTo>
                    <a:pt x="1062895" y="0"/>
                  </a:lnTo>
                  <a:lnTo>
                    <a:pt x="1017887" y="0"/>
                  </a:lnTo>
                  <a:lnTo>
                    <a:pt x="1010550" y="0"/>
                  </a:lnTo>
                  <a:lnTo>
                    <a:pt x="965541" y="0"/>
                  </a:lnTo>
                  <a:lnTo>
                    <a:pt x="942629" y="0"/>
                  </a:lnTo>
                  <a:lnTo>
                    <a:pt x="927725" y="0"/>
                  </a:lnTo>
                  <a:lnTo>
                    <a:pt x="890284" y="0"/>
                  </a:lnTo>
                  <a:lnTo>
                    <a:pt x="875379" y="0"/>
                  </a:lnTo>
                  <a:lnTo>
                    <a:pt x="863282" y="0"/>
                  </a:lnTo>
                  <a:lnTo>
                    <a:pt x="852467" y="0"/>
                  </a:lnTo>
                  <a:lnTo>
                    <a:pt x="810936" y="0"/>
                  </a:lnTo>
                  <a:lnTo>
                    <a:pt x="800122" y="0"/>
                  </a:lnTo>
                  <a:lnTo>
                    <a:pt x="773120" y="0"/>
                  </a:lnTo>
                  <a:lnTo>
                    <a:pt x="720774" y="0"/>
                  </a:lnTo>
                  <a:lnTo>
                    <a:pt x="652854" y="0"/>
                  </a:lnTo>
                  <a:lnTo>
                    <a:pt x="600508" y="0"/>
                  </a:lnTo>
                  <a:lnTo>
                    <a:pt x="562692" y="0"/>
                  </a:lnTo>
                  <a:lnTo>
                    <a:pt x="510346" y="0"/>
                  </a:lnTo>
                  <a:lnTo>
                    <a:pt x="492866" y="0"/>
                  </a:lnTo>
                  <a:lnTo>
                    <a:pt x="402704" y="0"/>
                  </a:lnTo>
                  <a:lnTo>
                    <a:pt x="282438" y="0"/>
                  </a:lnTo>
                  <a:lnTo>
                    <a:pt x="192276" y="0"/>
                  </a:lnTo>
                  <a:cubicBezTo>
                    <a:pt x="172644" y="0"/>
                    <a:pt x="153954" y="8556"/>
                    <a:pt x="141311" y="23432"/>
                  </a:cubicBezTo>
                  <a:lnTo>
                    <a:pt x="15431" y="171425"/>
                  </a:lnTo>
                  <a:lnTo>
                    <a:pt x="0" y="213135"/>
                  </a:lnTo>
                  <a:lnTo>
                    <a:pt x="0" y="213136"/>
                  </a:lnTo>
                  <a:lnTo>
                    <a:pt x="15431" y="254903"/>
                  </a:lnTo>
                  <a:lnTo>
                    <a:pt x="141311" y="402974"/>
                  </a:lnTo>
                  <a:cubicBezTo>
                    <a:pt x="153954" y="417851"/>
                    <a:pt x="172566" y="426406"/>
                    <a:pt x="192276" y="426406"/>
                  </a:cubicBezTo>
                  <a:lnTo>
                    <a:pt x="282438" y="426406"/>
                  </a:lnTo>
                  <a:lnTo>
                    <a:pt x="402704" y="426406"/>
                  </a:lnTo>
                  <a:lnTo>
                    <a:pt x="492866" y="426406"/>
                  </a:lnTo>
                  <a:lnTo>
                    <a:pt x="510346" y="426406"/>
                  </a:lnTo>
                  <a:lnTo>
                    <a:pt x="562692" y="426406"/>
                  </a:lnTo>
                  <a:lnTo>
                    <a:pt x="600508" y="426406"/>
                  </a:lnTo>
                  <a:lnTo>
                    <a:pt x="652854" y="426406"/>
                  </a:lnTo>
                  <a:lnTo>
                    <a:pt x="720774" y="426406"/>
                  </a:lnTo>
                  <a:lnTo>
                    <a:pt x="773120" y="426406"/>
                  </a:lnTo>
                  <a:lnTo>
                    <a:pt x="800122" y="426406"/>
                  </a:lnTo>
                  <a:lnTo>
                    <a:pt x="810936" y="426406"/>
                  </a:lnTo>
                  <a:lnTo>
                    <a:pt x="852467" y="426406"/>
                  </a:lnTo>
                  <a:lnTo>
                    <a:pt x="863282" y="426406"/>
                  </a:lnTo>
                  <a:lnTo>
                    <a:pt x="875379" y="426406"/>
                  </a:lnTo>
                  <a:lnTo>
                    <a:pt x="890284" y="426406"/>
                  </a:lnTo>
                  <a:lnTo>
                    <a:pt x="927725" y="426406"/>
                  </a:lnTo>
                  <a:lnTo>
                    <a:pt x="942629" y="426406"/>
                  </a:lnTo>
                  <a:lnTo>
                    <a:pt x="965541" y="426406"/>
                  </a:lnTo>
                  <a:lnTo>
                    <a:pt x="1010550" y="426406"/>
                  </a:lnTo>
                  <a:lnTo>
                    <a:pt x="1017887" y="426406"/>
                  </a:lnTo>
                  <a:lnTo>
                    <a:pt x="1062895" y="426406"/>
                  </a:lnTo>
                  <a:lnTo>
                    <a:pt x="1085807" y="426406"/>
                  </a:lnTo>
                  <a:lnTo>
                    <a:pt x="1100712" y="426406"/>
                  </a:lnTo>
                  <a:lnTo>
                    <a:pt x="1138153" y="426406"/>
                  </a:lnTo>
                  <a:lnTo>
                    <a:pt x="1153057" y="426406"/>
                  </a:lnTo>
                  <a:lnTo>
                    <a:pt x="1165155" y="426406"/>
                  </a:lnTo>
                  <a:lnTo>
                    <a:pt x="1175969" y="426406"/>
                  </a:lnTo>
                  <a:lnTo>
                    <a:pt x="1217500" y="426406"/>
                  </a:lnTo>
                  <a:lnTo>
                    <a:pt x="1228315" y="426406"/>
                  </a:lnTo>
                  <a:lnTo>
                    <a:pt x="1255317" y="426406"/>
                  </a:lnTo>
                  <a:lnTo>
                    <a:pt x="1307662" y="426406"/>
                  </a:lnTo>
                  <a:lnTo>
                    <a:pt x="1375583" y="426406"/>
                  </a:lnTo>
                  <a:lnTo>
                    <a:pt x="1427928" y="426406"/>
                  </a:lnTo>
                  <a:lnTo>
                    <a:pt x="1465745" y="426406"/>
                  </a:lnTo>
                  <a:lnTo>
                    <a:pt x="1518090" y="426406"/>
                  </a:lnTo>
                  <a:lnTo>
                    <a:pt x="1535570" y="426406"/>
                  </a:lnTo>
                  <a:lnTo>
                    <a:pt x="1625732" y="426406"/>
                  </a:lnTo>
                  <a:lnTo>
                    <a:pt x="1745998" y="426406"/>
                  </a:lnTo>
                  <a:lnTo>
                    <a:pt x="1836160" y="426406"/>
                  </a:lnTo>
                  <a:cubicBezTo>
                    <a:pt x="1855870" y="426406"/>
                    <a:pt x="1874482" y="417851"/>
                    <a:pt x="1887125" y="402974"/>
                  </a:cubicBezTo>
                  <a:lnTo>
                    <a:pt x="2013005" y="254903"/>
                  </a:lnTo>
                  <a:lnTo>
                    <a:pt x="2028436" y="213136"/>
                  </a:lnTo>
                  <a:lnTo>
                    <a:pt x="2028436" y="213135"/>
                  </a:lnTo>
                  <a:lnTo>
                    <a:pt x="2013005" y="171425"/>
                  </a:lnTo>
                  <a:lnTo>
                    <a:pt x="1887125" y="23432"/>
                  </a:lnTo>
                  <a:cubicBezTo>
                    <a:pt x="1874482" y="8556"/>
                    <a:pt x="1855792" y="0"/>
                    <a:pt x="1836160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360045" algn="ctr"/>
              <a:r>
                <a: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rPr>
                <a:t>适用人群创新</a:t>
              </a:r>
              <a:endParaRPr lang="zh-CN" altLang="en-US" sz="1600" b="1">
                <a:gradFill>
                  <a:gsLst>
                    <a:gs pos="50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sp>
          <p:nvSpPr>
            <p:cNvPr id="53" name="图形 51"/>
            <p:cNvSpPr/>
            <p:nvPr/>
          </p:nvSpPr>
          <p:spPr>
            <a:xfrm>
              <a:off x="605154" y="1253981"/>
              <a:ext cx="257968" cy="221890"/>
            </a:xfrm>
            <a:custGeom>
              <a:avLst/>
              <a:gdLst>
                <a:gd name="csX0" fmla="*/ 1109067 w 1746051"/>
                <a:gd name="csY0" fmla="*/ 738188 h 1501854"/>
                <a:gd name="csX1" fmla="*/ 1204285 w 1746051"/>
                <a:gd name="csY1" fmla="*/ 170768 h 1501854"/>
                <a:gd name="csX2" fmla="*/ 636865 w 1746051"/>
                <a:gd name="csY2" fmla="*/ 75549 h 1501854"/>
                <a:gd name="csX3" fmla="*/ 541647 w 1746051"/>
                <a:gd name="csY3" fmla="*/ 642969 h 1501854"/>
                <a:gd name="csX4" fmla="*/ 636865 w 1746051"/>
                <a:gd name="csY4" fmla="*/ 738188 h 1501854"/>
                <a:gd name="csX5" fmla="*/ 623173 w 1746051"/>
                <a:gd name="csY5" fmla="*/ 743545 h 1501854"/>
                <a:gd name="csX6" fmla="*/ 418743 w 1746051"/>
                <a:gd name="csY6" fmla="*/ 875110 h 1501854"/>
                <a:gd name="csX7" fmla="*/ 280273 w 1746051"/>
                <a:gd name="csY7" fmla="*/ 1071086 h 1501854"/>
                <a:gd name="csX8" fmla="*/ 229314 w 1746051"/>
                <a:gd name="csY8" fmla="*/ 1311950 h 1501854"/>
                <a:gd name="csX9" fmla="*/ 229314 w 1746051"/>
                <a:gd name="csY9" fmla="*/ 1391722 h 1501854"/>
                <a:gd name="csX10" fmla="*/ 263485 w 1746051"/>
                <a:gd name="csY10" fmla="*/ 1470660 h 1501854"/>
                <a:gd name="csX11" fmla="*/ 342186 w 1746051"/>
                <a:gd name="csY11" fmla="*/ 1501855 h 1501854"/>
                <a:gd name="csX12" fmla="*/ 1403747 w 1746051"/>
                <a:gd name="csY12" fmla="*/ 1501855 h 1501854"/>
                <a:gd name="csX13" fmla="*/ 1482447 w 1746051"/>
                <a:gd name="csY13" fmla="*/ 1470660 h 1501854"/>
                <a:gd name="csX14" fmla="*/ 1516618 w 1746051"/>
                <a:gd name="csY14" fmla="*/ 1391603 h 1501854"/>
                <a:gd name="csX15" fmla="*/ 1516618 w 1746051"/>
                <a:gd name="csY15" fmla="*/ 1311950 h 1501854"/>
                <a:gd name="csX16" fmla="*/ 1465659 w 1746051"/>
                <a:gd name="csY16" fmla="*/ 1071086 h 1501854"/>
                <a:gd name="csX17" fmla="*/ 1327190 w 1746051"/>
                <a:gd name="csY17" fmla="*/ 875110 h 1501854"/>
                <a:gd name="csX18" fmla="*/ 1122759 w 1746051"/>
                <a:gd name="csY18" fmla="*/ 743545 h 1501854"/>
                <a:gd name="csX19" fmla="*/ 1109067 w 1746051"/>
                <a:gd name="csY19" fmla="*/ 738307 h 1501854"/>
                <a:gd name="csX20" fmla="*/ 1161455 w 1746051"/>
                <a:gd name="csY20" fmla="*/ 406837 h 1501854"/>
                <a:gd name="csX21" fmla="*/ 872966 w 1746051"/>
                <a:gd name="csY21" fmla="*/ 695325 h 1501854"/>
                <a:gd name="csX22" fmla="*/ 584478 w 1746051"/>
                <a:gd name="csY22" fmla="*/ 406837 h 1501854"/>
                <a:gd name="csX23" fmla="*/ 872966 w 1746051"/>
                <a:gd name="csY23" fmla="*/ 118348 h 1501854"/>
                <a:gd name="csX24" fmla="*/ 1161455 w 1746051"/>
                <a:gd name="csY24" fmla="*/ 406837 h 1501854"/>
                <a:gd name="csX25" fmla="*/ 1394817 w 1746051"/>
                <a:gd name="csY25" fmla="*/ 171093 h 1501854"/>
                <a:gd name="csX26" fmla="*/ 1520547 w 1746051"/>
                <a:gd name="csY26" fmla="*/ 285869 h 1501854"/>
                <a:gd name="csX27" fmla="*/ 1567220 w 1746051"/>
                <a:gd name="csY27" fmla="*/ 462320 h 1501854"/>
                <a:gd name="csX28" fmla="*/ 1521023 w 1746051"/>
                <a:gd name="csY28" fmla="*/ 637818 h 1501854"/>
                <a:gd name="csX29" fmla="*/ 1499949 w 1746051"/>
                <a:gd name="csY29" fmla="*/ 669608 h 1501854"/>
                <a:gd name="csX30" fmla="*/ 1652707 w 1746051"/>
                <a:gd name="csY30" fmla="*/ 819388 h 1501854"/>
                <a:gd name="csX31" fmla="*/ 1746052 w 1746051"/>
                <a:gd name="csY31" fmla="*/ 1173361 h 1501854"/>
                <a:gd name="csX32" fmla="*/ 1686878 w 1746051"/>
                <a:gd name="csY32" fmla="*/ 1232535 h 1501854"/>
                <a:gd name="csX33" fmla="*/ 1627704 w 1746051"/>
                <a:gd name="csY33" fmla="*/ 1173361 h 1501854"/>
                <a:gd name="csX34" fmla="*/ 1551504 w 1746051"/>
                <a:gd name="csY34" fmla="*/ 880944 h 1501854"/>
                <a:gd name="csX35" fmla="*/ 1372910 w 1746051"/>
                <a:gd name="csY35" fmla="*/ 759500 h 1501854"/>
                <a:gd name="csX36" fmla="*/ 1314926 w 1746051"/>
                <a:gd name="csY36" fmla="*/ 712351 h 1501854"/>
                <a:gd name="csX37" fmla="*/ 1348502 w 1746051"/>
                <a:gd name="csY37" fmla="*/ 644485 h 1501854"/>
                <a:gd name="csX38" fmla="*/ 1418749 w 1746051"/>
                <a:gd name="csY38" fmla="*/ 578049 h 1501854"/>
                <a:gd name="csX39" fmla="*/ 1448872 w 1746051"/>
                <a:gd name="csY39" fmla="*/ 462320 h 1501854"/>
                <a:gd name="csX40" fmla="*/ 1418511 w 1746051"/>
                <a:gd name="csY40" fmla="*/ 345996 h 1501854"/>
                <a:gd name="csX41" fmla="*/ 1347549 w 1746051"/>
                <a:gd name="csY41" fmla="*/ 279797 h 1501854"/>
                <a:gd name="csX42" fmla="*/ 1316831 w 1746051"/>
                <a:gd name="csY42" fmla="*/ 201930 h 1501854"/>
                <a:gd name="csX43" fmla="*/ 1394698 w 1746051"/>
                <a:gd name="csY43" fmla="*/ 171212 h 1501854"/>
                <a:gd name="csX44" fmla="*/ 351711 w 1746051"/>
                <a:gd name="csY44" fmla="*/ 171926 h 1501854"/>
                <a:gd name="csX45" fmla="*/ 225862 w 1746051"/>
                <a:gd name="csY45" fmla="*/ 286584 h 1501854"/>
                <a:gd name="csX46" fmla="*/ 179189 w 1746051"/>
                <a:gd name="csY46" fmla="*/ 463034 h 1501854"/>
                <a:gd name="csX47" fmla="*/ 225266 w 1746051"/>
                <a:gd name="csY47" fmla="*/ 638413 h 1501854"/>
                <a:gd name="csX48" fmla="*/ 246340 w 1746051"/>
                <a:gd name="csY48" fmla="*/ 670203 h 1501854"/>
                <a:gd name="csX49" fmla="*/ 93345 w 1746051"/>
                <a:gd name="csY49" fmla="*/ 820103 h 1501854"/>
                <a:gd name="csX50" fmla="*/ 0 w 1746051"/>
                <a:gd name="csY50" fmla="*/ 1173956 h 1501854"/>
                <a:gd name="csX51" fmla="*/ 59174 w 1746051"/>
                <a:gd name="csY51" fmla="*/ 1233131 h 1501854"/>
                <a:gd name="csX52" fmla="*/ 118348 w 1746051"/>
                <a:gd name="csY52" fmla="*/ 1173956 h 1501854"/>
                <a:gd name="csX53" fmla="*/ 194548 w 1746051"/>
                <a:gd name="csY53" fmla="*/ 881539 h 1501854"/>
                <a:gd name="csX54" fmla="*/ 373142 w 1746051"/>
                <a:gd name="csY54" fmla="*/ 760095 h 1501854"/>
                <a:gd name="csX55" fmla="*/ 428506 w 1746051"/>
                <a:gd name="csY55" fmla="*/ 721995 h 1501854"/>
                <a:gd name="csX56" fmla="*/ 397907 w 1746051"/>
                <a:gd name="csY56" fmla="*/ 644962 h 1501854"/>
                <a:gd name="csX57" fmla="*/ 327541 w 1746051"/>
                <a:gd name="csY57" fmla="*/ 578644 h 1501854"/>
                <a:gd name="csX58" fmla="*/ 297537 w 1746051"/>
                <a:gd name="csY58" fmla="*/ 462915 h 1501854"/>
                <a:gd name="csX59" fmla="*/ 327898 w 1746051"/>
                <a:gd name="csY59" fmla="*/ 346472 h 1501854"/>
                <a:gd name="csX60" fmla="*/ 398859 w 1746051"/>
                <a:gd name="csY60" fmla="*/ 280273 h 1501854"/>
                <a:gd name="csX61" fmla="*/ 432341 w 1746051"/>
                <a:gd name="csY61" fmla="*/ 203578 h 1501854"/>
                <a:gd name="csX62" fmla="*/ 355646 w 1746051"/>
                <a:gd name="csY62" fmla="*/ 170097 h 1501854"/>
                <a:gd name="csX63" fmla="*/ 351711 w 1746051"/>
                <a:gd name="csY63" fmla="*/ 171807 h 1501854"/>
                <a:gd name="csX64" fmla="*/ 1357432 w 1746051"/>
                <a:gd name="csY64" fmla="*/ 1119069 h 1501854"/>
                <a:gd name="csX65" fmla="*/ 1398270 w 1746051"/>
                <a:gd name="csY65" fmla="*/ 1311950 h 1501854"/>
                <a:gd name="csX66" fmla="*/ 1398270 w 1746051"/>
                <a:gd name="csY66" fmla="*/ 1383387 h 1501854"/>
                <a:gd name="csX67" fmla="*/ 347663 w 1746051"/>
                <a:gd name="csY67" fmla="*/ 1383387 h 1501854"/>
                <a:gd name="csX68" fmla="*/ 347663 w 1746051"/>
                <a:gd name="csY68" fmla="*/ 1311950 h 1501854"/>
                <a:gd name="csX69" fmla="*/ 388501 w 1746051"/>
                <a:gd name="csY69" fmla="*/ 1119069 h 1501854"/>
                <a:gd name="csX70" fmla="*/ 500420 w 1746051"/>
                <a:gd name="csY70" fmla="*/ 960715 h 1501854"/>
                <a:gd name="csX71" fmla="*/ 667464 w 1746051"/>
                <a:gd name="csY71" fmla="*/ 853321 h 1501854"/>
                <a:gd name="csX72" fmla="*/ 872966 w 1746051"/>
                <a:gd name="csY72" fmla="*/ 813792 h 1501854"/>
                <a:gd name="csX73" fmla="*/ 1078468 w 1746051"/>
                <a:gd name="csY73" fmla="*/ 853321 h 1501854"/>
                <a:gd name="csX74" fmla="*/ 1245513 w 1746051"/>
                <a:gd name="csY74" fmla="*/ 960835 h 1501854"/>
                <a:gd name="csX75" fmla="*/ 1357432 w 1746051"/>
                <a:gd name="csY75" fmla="*/ 1119188 h 150185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</a:cxnLst>
              <a:rect l="l" t="t" r="r" b="b"/>
              <a:pathLst>
                <a:path w="1746051" h="1501854">
                  <a:moveTo>
                    <a:pt x="1109067" y="738188"/>
                  </a:moveTo>
                  <a:cubicBezTo>
                    <a:pt x="1292050" y="607793"/>
                    <a:pt x="1334680" y="353750"/>
                    <a:pt x="1204285" y="170768"/>
                  </a:cubicBezTo>
                  <a:cubicBezTo>
                    <a:pt x="1073890" y="-12215"/>
                    <a:pt x="819848" y="-54845"/>
                    <a:pt x="636865" y="75549"/>
                  </a:cubicBezTo>
                  <a:cubicBezTo>
                    <a:pt x="453883" y="205944"/>
                    <a:pt x="411252" y="459987"/>
                    <a:pt x="541647" y="642969"/>
                  </a:cubicBezTo>
                  <a:cubicBezTo>
                    <a:pt x="567877" y="679778"/>
                    <a:pt x="600057" y="711958"/>
                    <a:pt x="636865" y="738188"/>
                  </a:cubicBezTo>
                  <a:lnTo>
                    <a:pt x="623173" y="743545"/>
                  </a:lnTo>
                  <a:cubicBezTo>
                    <a:pt x="546179" y="774660"/>
                    <a:pt x="478036" y="818515"/>
                    <a:pt x="418743" y="875110"/>
                  </a:cubicBezTo>
                  <a:cubicBezTo>
                    <a:pt x="359212" y="931942"/>
                    <a:pt x="313055" y="997268"/>
                    <a:pt x="280273" y="1071086"/>
                  </a:cubicBezTo>
                  <a:cubicBezTo>
                    <a:pt x="246301" y="1147763"/>
                    <a:pt x="229314" y="1228051"/>
                    <a:pt x="229314" y="1311950"/>
                  </a:cubicBezTo>
                  <a:lnTo>
                    <a:pt x="229314" y="1391722"/>
                  </a:lnTo>
                  <a:cubicBezTo>
                    <a:pt x="229314" y="1422678"/>
                    <a:pt x="240705" y="1448991"/>
                    <a:pt x="263485" y="1470660"/>
                  </a:cubicBezTo>
                  <a:cubicBezTo>
                    <a:pt x="285393" y="1491456"/>
                    <a:pt x="311626" y="1501855"/>
                    <a:pt x="342186" y="1501855"/>
                  </a:cubicBezTo>
                  <a:lnTo>
                    <a:pt x="1403747" y="1501855"/>
                  </a:lnTo>
                  <a:cubicBezTo>
                    <a:pt x="1434306" y="1501855"/>
                    <a:pt x="1460540" y="1491456"/>
                    <a:pt x="1482447" y="1470660"/>
                  </a:cubicBezTo>
                  <a:cubicBezTo>
                    <a:pt x="1505228" y="1448991"/>
                    <a:pt x="1516618" y="1422638"/>
                    <a:pt x="1516618" y="1391603"/>
                  </a:cubicBezTo>
                  <a:lnTo>
                    <a:pt x="1516618" y="1311950"/>
                  </a:lnTo>
                  <a:cubicBezTo>
                    <a:pt x="1516618" y="1228051"/>
                    <a:pt x="1499632" y="1147763"/>
                    <a:pt x="1465659" y="1071086"/>
                  </a:cubicBezTo>
                  <a:cubicBezTo>
                    <a:pt x="1432877" y="997268"/>
                    <a:pt x="1386721" y="931942"/>
                    <a:pt x="1327190" y="875110"/>
                  </a:cubicBezTo>
                  <a:cubicBezTo>
                    <a:pt x="1267817" y="818515"/>
                    <a:pt x="1199674" y="774660"/>
                    <a:pt x="1122759" y="743545"/>
                  </a:cubicBezTo>
                  <a:cubicBezTo>
                    <a:pt x="1118235" y="741720"/>
                    <a:pt x="1113671" y="739974"/>
                    <a:pt x="1109067" y="738307"/>
                  </a:cubicBezTo>
                  <a:close/>
                  <a:moveTo>
                    <a:pt x="1161455" y="406837"/>
                  </a:moveTo>
                  <a:cubicBezTo>
                    <a:pt x="1161455" y="566164"/>
                    <a:pt x="1032294" y="695325"/>
                    <a:pt x="872966" y="695325"/>
                  </a:cubicBezTo>
                  <a:cubicBezTo>
                    <a:pt x="713639" y="695325"/>
                    <a:pt x="584478" y="566164"/>
                    <a:pt x="584478" y="406837"/>
                  </a:cubicBezTo>
                  <a:cubicBezTo>
                    <a:pt x="584478" y="247509"/>
                    <a:pt x="713639" y="118348"/>
                    <a:pt x="872966" y="118348"/>
                  </a:cubicBezTo>
                  <a:cubicBezTo>
                    <a:pt x="1032294" y="118348"/>
                    <a:pt x="1161455" y="247509"/>
                    <a:pt x="1161455" y="406837"/>
                  </a:cubicBezTo>
                  <a:close/>
                  <a:moveTo>
                    <a:pt x="1394817" y="171093"/>
                  </a:moveTo>
                  <a:cubicBezTo>
                    <a:pt x="1446967" y="193874"/>
                    <a:pt x="1488877" y="232132"/>
                    <a:pt x="1520547" y="285869"/>
                  </a:cubicBezTo>
                  <a:cubicBezTo>
                    <a:pt x="1551662" y="338812"/>
                    <a:pt x="1567220" y="397629"/>
                    <a:pt x="1567220" y="462320"/>
                  </a:cubicBezTo>
                  <a:cubicBezTo>
                    <a:pt x="1567220" y="526614"/>
                    <a:pt x="1551821" y="585113"/>
                    <a:pt x="1521023" y="637818"/>
                  </a:cubicBezTo>
                  <a:cubicBezTo>
                    <a:pt x="1514435" y="649089"/>
                    <a:pt x="1507411" y="659686"/>
                    <a:pt x="1499949" y="669608"/>
                  </a:cubicBezTo>
                  <a:cubicBezTo>
                    <a:pt x="1558369" y="698183"/>
                    <a:pt x="1609289" y="748110"/>
                    <a:pt x="1652707" y="819388"/>
                  </a:cubicBezTo>
                  <a:cubicBezTo>
                    <a:pt x="1714937" y="921623"/>
                    <a:pt x="1746052" y="1039614"/>
                    <a:pt x="1746052" y="1173361"/>
                  </a:cubicBezTo>
                  <a:cubicBezTo>
                    <a:pt x="1746052" y="1206042"/>
                    <a:pt x="1719559" y="1232535"/>
                    <a:pt x="1686878" y="1232535"/>
                  </a:cubicBezTo>
                  <a:cubicBezTo>
                    <a:pt x="1654197" y="1232535"/>
                    <a:pt x="1627704" y="1206042"/>
                    <a:pt x="1627704" y="1173361"/>
                  </a:cubicBezTo>
                  <a:cubicBezTo>
                    <a:pt x="1627704" y="1061680"/>
                    <a:pt x="1602303" y="964208"/>
                    <a:pt x="1551504" y="880944"/>
                  </a:cubicBezTo>
                  <a:cubicBezTo>
                    <a:pt x="1502291" y="799981"/>
                    <a:pt x="1442760" y="759500"/>
                    <a:pt x="1372910" y="759500"/>
                  </a:cubicBezTo>
                  <a:cubicBezTo>
                    <a:pt x="1344335" y="759500"/>
                    <a:pt x="1320522" y="739259"/>
                    <a:pt x="1314926" y="712351"/>
                  </a:cubicBezTo>
                  <a:cubicBezTo>
                    <a:pt x="1308337" y="684598"/>
                    <a:pt x="1322443" y="656086"/>
                    <a:pt x="1348502" y="644485"/>
                  </a:cubicBezTo>
                  <a:cubicBezTo>
                    <a:pt x="1376998" y="631785"/>
                    <a:pt x="1400413" y="609640"/>
                    <a:pt x="1418749" y="578049"/>
                  </a:cubicBezTo>
                  <a:cubicBezTo>
                    <a:pt x="1438831" y="543759"/>
                    <a:pt x="1448872" y="505182"/>
                    <a:pt x="1448872" y="462320"/>
                  </a:cubicBezTo>
                  <a:cubicBezTo>
                    <a:pt x="1448872" y="419140"/>
                    <a:pt x="1438751" y="380365"/>
                    <a:pt x="1418511" y="345996"/>
                  </a:cubicBezTo>
                  <a:cubicBezTo>
                    <a:pt x="1399858" y="314246"/>
                    <a:pt x="1376204" y="292179"/>
                    <a:pt x="1347549" y="279797"/>
                  </a:cubicBezTo>
                  <a:cubicBezTo>
                    <a:pt x="1317565" y="266777"/>
                    <a:pt x="1303812" y="231915"/>
                    <a:pt x="1316831" y="201930"/>
                  </a:cubicBezTo>
                  <a:cubicBezTo>
                    <a:pt x="1329851" y="171945"/>
                    <a:pt x="1364713" y="158192"/>
                    <a:pt x="1394698" y="171212"/>
                  </a:cubicBezTo>
                  <a:close/>
                  <a:moveTo>
                    <a:pt x="351711" y="171926"/>
                  </a:moveTo>
                  <a:cubicBezTo>
                    <a:pt x="299482" y="194548"/>
                    <a:pt x="257532" y="232767"/>
                    <a:pt x="225862" y="286584"/>
                  </a:cubicBezTo>
                  <a:cubicBezTo>
                    <a:pt x="194747" y="339527"/>
                    <a:pt x="179189" y="398344"/>
                    <a:pt x="179189" y="463034"/>
                  </a:cubicBezTo>
                  <a:cubicBezTo>
                    <a:pt x="179189" y="527328"/>
                    <a:pt x="194548" y="585788"/>
                    <a:pt x="225266" y="638413"/>
                  </a:cubicBezTo>
                  <a:cubicBezTo>
                    <a:pt x="231854" y="649685"/>
                    <a:pt x="238879" y="660281"/>
                    <a:pt x="246340" y="670203"/>
                  </a:cubicBezTo>
                  <a:cubicBezTo>
                    <a:pt x="187762" y="698778"/>
                    <a:pt x="136763" y="748745"/>
                    <a:pt x="93345" y="820103"/>
                  </a:cubicBezTo>
                  <a:cubicBezTo>
                    <a:pt x="31115" y="922338"/>
                    <a:pt x="0" y="1040289"/>
                    <a:pt x="0" y="1173956"/>
                  </a:cubicBezTo>
                  <a:cubicBezTo>
                    <a:pt x="0" y="1206637"/>
                    <a:pt x="26493" y="1233131"/>
                    <a:pt x="59174" y="1233131"/>
                  </a:cubicBezTo>
                  <a:cubicBezTo>
                    <a:pt x="91855" y="1233131"/>
                    <a:pt x="118348" y="1206637"/>
                    <a:pt x="118348" y="1173956"/>
                  </a:cubicBezTo>
                  <a:cubicBezTo>
                    <a:pt x="118348" y="1062276"/>
                    <a:pt x="143748" y="964803"/>
                    <a:pt x="194548" y="881539"/>
                  </a:cubicBezTo>
                  <a:cubicBezTo>
                    <a:pt x="243761" y="800576"/>
                    <a:pt x="303292" y="760095"/>
                    <a:pt x="373142" y="760095"/>
                  </a:cubicBezTo>
                  <a:cubicBezTo>
                    <a:pt x="397718" y="760124"/>
                    <a:pt x="419754" y="744960"/>
                    <a:pt x="428506" y="721995"/>
                  </a:cubicBezTo>
                  <a:cubicBezTo>
                    <a:pt x="441067" y="692270"/>
                    <a:pt x="427441" y="657966"/>
                    <a:pt x="397907" y="644962"/>
                  </a:cubicBezTo>
                  <a:cubicBezTo>
                    <a:pt x="369411" y="632262"/>
                    <a:pt x="345956" y="610156"/>
                    <a:pt x="327541" y="578644"/>
                  </a:cubicBezTo>
                  <a:cubicBezTo>
                    <a:pt x="307538" y="544354"/>
                    <a:pt x="297537" y="505778"/>
                    <a:pt x="297537" y="462915"/>
                  </a:cubicBezTo>
                  <a:cubicBezTo>
                    <a:pt x="297537" y="419735"/>
                    <a:pt x="307658" y="380921"/>
                    <a:pt x="327898" y="346472"/>
                  </a:cubicBezTo>
                  <a:cubicBezTo>
                    <a:pt x="346551" y="314801"/>
                    <a:pt x="370205" y="292735"/>
                    <a:pt x="398859" y="280273"/>
                  </a:cubicBezTo>
                  <a:cubicBezTo>
                    <a:pt x="429284" y="268340"/>
                    <a:pt x="444274" y="234003"/>
                    <a:pt x="432341" y="203578"/>
                  </a:cubicBezTo>
                  <a:cubicBezTo>
                    <a:pt x="420408" y="173154"/>
                    <a:pt x="386071" y="158164"/>
                    <a:pt x="355646" y="170097"/>
                  </a:cubicBezTo>
                  <a:cubicBezTo>
                    <a:pt x="354314" y="170619"/>
                    <a:pt x="353001" y="171190"/>
                    <a:pt x="351711" y="171807"/>
                  </a:cubicBezTo>
                  <a:close/>
                  <a:moveTo>
                    <a:pt x="1357432" y="1119069"/>
                  </a:moveTo>
                  <a:cubicBezTo>
                    <a:pt x="1384657" y="1180505"/>
                    <a:pt x="1398270" y="1244799"/>
                    <a:pt x="1398270" y="1311950"/>
                  </a:cubicBezTo>
                  <a:lnTo>
                    <a:pt x="1398270" y="1383387"/>
                  </a:lnTo>
                  <a:lnTo>
                    <a:pt x="347663" y="1383387"/>
                  </a:lnTo>
                  <a:lnTo>
                    <a:pt x="347663" y="1311950"/>
                  </a:lnTo>
                  <a:cubicBezTo>
                    <a:pt x="347663" y="1244799"/>
                    <a:pt x="361275" y="1180505"/>
                    <a:pt x="388501" y="1119069"/>
                  </a:cubicBezTo>
                  <a:cubicBezTo>
                    <a:pt x="414933" y="1059537"/>
                    <a:pt x="452239" y="1006753"/>
                    <a:pt x="500420" y="960715"/>
                  </a:cubicBezTo>
                  <a:cubicBezTo>
                    <a:pt x="548838" y="914519"/>
                    <a:pt x="604520" y="878721"/>
                    <a:pt x="667464" y="853321"/>
                  </a:cubicBezTo>
                  <a:cubicBezTo>
                    <a:pt x="732869" y="826969"/>
                    <a:pt x="801370" y="813792"/>
                    <a:pt x="872966" y="813792"/>
                  </a:cubicBezTo>
                  <a:cubicBezTo>
                    <a:pt x="944563" y="813792"/>
                    <a:pt x="1013063" y="826969"/>
                    <a:pt x="1078468" y="853321"/>
                  </a:cubicBezTo>
                  <a:cubicBezTo>
                    <a:pt x="1141413" y="878721"/>
                    <a:pt x="1197094" y="914559"/>
                    <a:pt x="1245513" y="960835"/>
                  </a:cubicBezTo>
                  <a:cubicBezTo>
                    <a:pt x="1293693" y="1006872"/>
                    <a:pt x="1331000" y="1059656"/>
                    <a:pt x="1357432" y="1119188"/>
                  </a:cubicBezTo>
                  <a:close/>
                </a:path>
              </a:pathLst>
            </a:custGeom>
            <a:solidFill>
              <a:schemeClr val="bg1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344804" y="3529842"/>
            <a:ext cx="5456248" cy="426406"/>
            <a:chOff x="372109" y="3505847"/>
            <a:chExt cx="5456248" cy="426406"/>
          </a:xfrm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grpSpPr>
        <p:grpSp>
          <p:nvGrpSpPr>
            <p:cNvPr id="39" name="组合 38"/>
            <p:cNvGrpSpPr/>
            <p:nvPr/>
          </p:nvGrpSpPr>
          <p:grpSpPr>
            <a:xfrm>
              <a:off x="372109" y="3505847"/>
              <a:ext cx="5456248" cy="426406"/>
              <a:chOff x="372109" y="1146990"/>
              <a:chExt cx="5456248" cy="426406"/>
            </a:xfrm>
          </p:grpSpPr>
          <p:sp>
            <p:nvSpPr>
              <p:cNvPr id="40" name="任意多边形: 形状 39"/>
              <p:cNvSpPr/>
              <p:nvPr/>
            </p:nvSpPr>
            <p:spPr>
              <a:xfrm flipH="1">
                <a:off x="372109" y="1146990"/>
                <a:ext cx="5456248" cy="426406"/>
              </a:xfrm>
              <a:custGeom>
                <a:avLst/>
                <a:gdLst>
                  <a:gd name="csX0" fmla="*/ 5263972 w 5456248"/>
                  <a:gd name="csY0" fmla="*/ 0 h 426406"/>
                  <a:gd name="csX1" fmla="*/ 5173810 w 5456248"/>
                  <a:gd name="csY1" fmla="*/ 0 h 426406"/>
                  <a:gd name="csX2" fmla="*/ 5053544 w 5456248"/>
                  <a:gd name="csY2" fmla="*/ 0 h 426406"/>
                  <a:gd name="csX3" fmla="*/ 4963382 w 5456248"/>
                  <a:gd name="csY3" fmla="*/ 0 h 426406"/>
                  <a:gd name="csX4" fmla="*/ 4893557 w 5456248"/>
                  <a:gd name="csY4" fmla="*/ 0 h 426406"/>
                  <a:gd name="csX5" fmla="*/ 4803395 w 5456248"/>
                  <a:gd name="csY5" fmla="*/ 0 h 426406"/>
                  <a:gd name="csX6" fmla="*/ 4683129 w 5456248"/>
                  <a:gd name="csY6" fmla="*/ 0 h 426406"/>
                  <a:gd name="csX7" fmla="*/ 4603781 w 5456248"/>
                  <a:gd name="csY7" fmla="*/ 0 h 426406"/>
                  <a:gd name="csX8" fmla="*/ 4592967 w 5456248"/>
                  <a:gd name="csY8" fmla="*/ 0 h 426406"/>
                  <a:gd name="csX9" fmla="*/ 4528524 w 5456248"/>
                  <a:gd name="csY9" fmla="*/ 0 h 426406"/>
                  <a:gd name="csX10" fmla="*/ 4513619 w 5456248"/>
                  <a:gd name="csY10" fmla="*/ 0 h 426406"/>
                  <a:gd name="csX11" fmla="*/ 4438362 w 5456248"/>
                  <a:gd name="csY11" fmla="*/ 0 h 426406"/>
                  <a:gd name="csX12" fmla="*/ 4393353 w 5456248"/>
                  <a:gd name="csY12" fmla="*/ 0 h 426406"/>
                  <a:gd name="csX13" fmla="*/ 4318096 w 5456248"/>
                  <a:gd name="csY13" fmla="*/ 0 h 426406"/>
                  <a:gd name="csX14" fmla="*/ 4303191 w 5456248"/>
                  <a:gd name="csY14" fmla="*/ 0 h 426406"/>
                  <a:gd name="csX15" fmla="*/ 4238748 w 5456248"/>
                  <a:gd name="csY15" fmla="*/ 0 h 426406"/>
                  <a:gd name="csX16" fmla="*/ 4227934 w 5456248"/>
                  <a:gd name="csY16" fmla="*/ 0 h 426406"/>
                  <a:gd name="csX17" fmla="*/ 4148586 w 5456248"/>
                  <a:gd name="csY17" fmla="*/ 0 h 426406"/>
                  <a:gd name="csX18" fmla="*/ 4028320 w 5456248"/>
                  <a:gd name="csY18" fmla="*/ 0 h 426406"/>
                  <a:gd name="csX19" fmla="*/ 3938158 w 5456248"/>
                  <a:gd name="csY19" fmla="*/ 0 h 426406"/>
                  <a:gd name="csX20" fmla="*/ 1518090 w 5456248"/>
                  <a:gd name="csY20" fmla="*/ 0 h 426406"/>
                  <a:gd name="csX21" fmla="*/ 1427928 w 5456248"/>
                  <a:gd name="csY21" fmla="*/ 0 h 426406"/>
                  <a:gd name="csX22" fmla="*/ 1307662 w 5456248"/>
                  <a:gd name="csY22" fmla="*/ 0 h 426406"/>
                  <a:gd name="csX23" fmla="*/ 1228315 w 5456248"/>
                  <a:gd name="csY23" fmla="*/ 0 h 426406"/>
                  <a:gd name="csX24" fmla="*/ 1217500 w 5456248"/>
                  <a:gd name="csY24" fmla="*/ 0 h 426406"/>
                  <a:gd name="csX25" fmla="*/ 1153057 w 5456248"/>
                  <a:gd name="csY25" fmla="*/ 0 h 426406"/>
                  <a:gd name="csX26" fmla="*/ 1138153 w 5456248"/>
                  <a:gd name="csY26" fmla="*/ 0 h 426406"/>
                  <a:gd name="csX27" fmla="*/ 1062895 w 5456248"/>
                  <a:gd name="csY27" fmla="*/ 0 h 426406"/>
                  <a:gd name="csX28" fmla="*/ 1017887 w 5456248"/>
                  <a:gd name="csY28" fmla="*/ 0 h 426406"/>
                  <a:gd name="csX29" fmla="*/ 942629 w 5456248"/>
                  <a:gd name="csY29" fmla="*/ 0 h 426406"/>
                  <a:gd name="csX30" fmla="*/ 927725 w 5456248"/>
                  <a:gd name="csY30" fmla="*/ 0 h 426406"/>
                  <a:gd name="csX31" fmla="*/ 863282 w 5456248"/>
                  <a:gd name="csY31" fmla="*/ 0 h 426406"/>
                  <a:gd name="csX32" fmla="*/ 852467 w 5456248"/>
                  <a:gd name="csY32" fmla="*/ 0 h 426406"/>
                  <a:gd name="csX33" fmla="*/ 773120 w 5456248"/>
                  <a:gd name="csY33" fmla="*/ 0 h 426406"/>
                  <a:gd name="csX34" fmla="*/ 652854 w 5456248"/>
                  <a:gd name="csY34" fmla="*/ 0 h 426406"/>
                  <a:gd name="csX35" fmla="*/ 562692 w 5456248"/>
                  <a:gd name="csY35" fmla="*/ 0 h 426406"/>
                  <a:gd name="csX36" fmla="*/ 492866 w 5456248"/>
                  <a:gd name="csY36" fmla="*/ 0 h 426406"/>
                  <a:gd name="csX37" fmla="*/ 402704 w 5456248"/>
                  <a:gd name="csY37" fmla="*/ 0 h 426406"/>
                  <a:gd name="csX38" fmla="*/ 282438 w 5456248"/>
                  <a:gd name="csY38" fmla="*/ 0 h 426406"/>
                  <a:gd name="csX39" fmla="*/ 192276 w 5456248"/>
                  <a:gd name="csY39" fmla="*/ 0 h 426406"/>
                  <a:gd name="csX40" fmla="*/ 141311 w 5456248"/>
                  <a:gd name="csY40" fmla="*/ 23432 h 426406"/>
                  <a:gd name="csX41" fmla="*/ 15431 w 5456248"/>
                  <a:gd name="csY41" fmla="*/ 171425 h 426406"/>
                  <a:gd name="csX42" fmla="*/ 0 w 5456248"/>
                  <a:gd name="csY42" fmla="*/ 213135 h 426406"/>
                  <a:gd name="csX43" fmla="*/ 0 w 5456248"/>
                  <a:gd name="csY43" fmla="*/ 213136 h 426406"/>
                  <a:gd name="csX44" fmla="*/ 15431 w 5456248"/>
                  <a:gd name="csY44" fmla="*/ 254903 h 426406"/>
                  <a:gd name="csX45" fmla="*/ 141311 w 5456248"/>
                  <a:gd name="csY45" fmla="*/ 402974 h 426406"/>
                  <a:gd name="csX46" fmla="*/ 192276 w 5456248"/>
                  <a:gd name="csY46" fmla="*/ 426406 h 426406"/>
                  <a:gd name="csX47" fmla="*/ 282438 w 5456248"/>
                  <a:gd name="csY47" fmla="*/ 426406 h 426406"/>
                  <a:gd name="csX48" fmla="*/ 402704 w 5456248"/>
                  <a:gd name="csY48" fmla="*/ 426406 h 426406"/>
                  <a:gd name="csX49" fmla="*/ 492866 w 5456248"/>
                  <a:gd name="csY49" fmla="*/ 426406 h 426406"/>
                  <a:gd name="csX50" fmla="*/ 562692 w 5456248"/>
                  <a:gd name="csY50" fmla="*/ 426406 h 426406"/>
                  <a:gd name="csX51" fmla="*/ 652854 w 5456248"/>
                  <a:gd name="csY51" fmla="*/ 426406 h 426406"/>
                  <a:gd name="csX52" fmla="*/ 773120 w 5456248"/>
                  <a:gd name="csY52" fmla="*/ 426406 h 426406"/>
                  <a:gd name="csX53" fmla="*/ 852467 w 5456248"/>
                  <a:gd name="csY53" fmla="*/ 426406 h 426406"/>
                  <a:gd name="csX54" fmla="*/ 863282 w 5456248"/>
                  <a:gd name="csY54" fmla="*/ 426406 h 426406"/>
                  <a:gd name="csX55" fmla="*/ 927725 w 5456248"/>
                  <a:gd name="csY55" fmla="*/ 426406 h 426406"/>
                  <a:gd name="csX56" fmla="*/ 942629 w 5456248"/>
                  <a:gd name="csY56" fmla="*/ 426406 h 426406"/>
                  <a:gd name="csX57" fmla="*/ 1017887 w 5456248"/>
                  <a:gd name="csY57" fmla="*/ 426406 h 426406"/>
                  <a:gd name="csX58" fmla="*/ 1062895 w 5456248"/>
                  <a:gd name="csY58" fmla="*/ 426406 h 426406"/>
                  <a:gd name="csX59" fmla="*/ 1138153 w 5456248"/>
                  <a:gd name="csY59" fmla="*/ 426406 h 426406"/>
                  <a:gd name="csX60" fmla="*/ 1153057 w 5456248"/>
                  <a:gd name="csY60" fmla="*/ 426406 h 426406"/>
                  <a:gd name="csX61" fmla="*/ 1217500 w 5456248"/>
                  <a:gd name="csY61" fmla="*/ 426406 h 426406"/>
                  <a:gd name="csX62" fmla="*/ 1228315 w 5456248"/>
                  <a:gd name="csY62" fmla="*/ 426406 h 426406"/>
                  <a:gd name="csX63" fmla="*/ 1307662 w 5456248"/>
                  <a:gd name="csY63" fmla="*/ 426406 h 426406"/>
                  <a:gd name="csX64" fmla="*/ 1427928 w 5456248"/>
                  <a:gd name="csY64" fmla="*/ 426406 h 426406"/>
                  <a:gd name="csX65" fmla="*/ 1518090 w 5456248"/>
                  <a:gd name="csY65" fmla="*/ 426406 h 426406"/>
                  <a:gd name="csX66" fmla="*/ 3938158 w 5456248"/>
                  <a:gd name="csY66" fmla="*/ 426406 h 426406"/>
                  <a:gd name="csX67" fmla="*/ 4028320 w 5456248"/>
                  <a:gd name="csY67" fmla="*/ 426406 h 426406"/>
                  <a:gd name="csX68" fmla="*/ 4148586 w 5456248"/>
                  <a:gd name="csY68" fmla="*/ 426406 h 426406"/>
                  <a:gd name="csX69" fmla="*/ 4227934 w 5456248"/>
                  <a:gd name="csY69" fmla="*/ 426406 h 426406"/>
                  <a:gd name="csX70" fmla="*/ 4238748 w 5456248"/>
                  <a:gd name="csY70" fmla="*/ 426406 h 426406"/>
                  <a:gd name="csX71" fmla="*/ 4303191 w 5456248"/>
                  <a:gd name="csY71" fmla="*/ 426406 h 426406"/>
                  <a:gd name="csX72" fmla="*/ 4318096 w 5456248"/>
                  <a:gd name="csY72" fmla="*/ 426406 h 426406"/>
                  <a:gd name="csX73" fmla="*/ 4393353 w 5456248"/>
                  <a:gd name="csY73" fmla="*/ 426406 h 426406"/>
                  <a:gd name="csX74" fmla="*/ 4438362 w 5456248"/>
                  <a:gd name="csY74" fmla="*/ 426406 h 426406"/>
                  <a:gd name="csX75" fmla="*/ 4513619 w 5456248"/>
                  <a:gd name="csY75" fmla="*/ 426406 h 426406"/>
                  <a:gd name="csX76" fmla="*/ 4528524 w 5456248"/>
                  <a:gd name="csY76" fmla="*/ 426406 h 426406"/>
                  <a:gd name="csX77" fmla="*/ 4592967 w 5456248"/>
                  <a:gd name="csY77" fmla="*/ 426406 h 426406"/>
                  <a:gd name="csX78" fmla="*/ 4603781 w 5456248"/>
                  <a:gd name="csY78" fmla="*/ 426406 h 426406"/>
                  <a:gd name="csX79" fmla="*/ 4683129 w 5456248"/>
                  <a:gd name="csY79" fmla="*/ 426406 h 426406"/>
                  <a:gd name="csX80" fmla="*/ 4803395 w 5456248"/>
                  <a:gd name="csY80" fmla="*/ 426406 h 426406"/>
                  <a:gd name="csX81" fmla="*/ 4893557 w 5456248"/>
                  <a:gd name="csY81" fmla="*/ 426406 h 426406"/>
                  <a:gd name="csX82" fmla="*/ 4963382 w 5456248"/>
                  <a:gd name="csY82" fmla="*/ 426406 h 426406"/>
                  <a:gd name="csX83" fmla="*/ 5053544 w 5456248"/>
                  <a:gd name="csY83" fmla="*/ 426406 h 426406"/>
                  <a:gd name="csX84" fmla="*/ 5173810 w 5456248"/>
                  <a:gd name="csY84" fmla="*/ 426406 h 426406"/>
                  <a:gd name="csX85" fmla="*/ 5263972 w 5456248"/>
                  <a:gd name="csY85" fmla="*/ 426406 h 426406"/>
                  <a:gd name="csX86" fmla="*/ 5314937 w 5456248"/>
                  <a:gd name="csY86" fmla="*/ 402974 h 426406"/>
                  <a:gd name="csX87" fmla="*/ 5440817 w 5456248"/>
                  <a:gd name="csY87" fmla="*/ 254903 h 426406"/>
                  <a:gd name="csX88" fmla="*/ 5456248 w 5456248"/>
                  <a:gd name="csY88" fmla="*/ 213136 h 426406"/>
                  <a:gd name="csX89" fmla="*/ 5456248 w 5456248"/>
                  <a:gd name="csY89" fmla="*/ 213135 h 426406"/>
                  <a:gd name="csX90" fmla="*/ 5440817 w 5456248"/>
                  <a:gd name="csY90" fmla="*/ 171425 h 426406"/>
                  <a:gd name="csX91" fmla="*/ 5314937 w 5456248"/>
                  <a:gd name="csY91" fmla="*/ 23432 h 426406"/>
                  <a:gd name="csX92" fmla="*/ 5263972 w 5456248"/>
                  <a:gd name="csY92" fmla="*/ 0 h 4264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  <a:cxn ang="0">
                    <a:pos x="csX90" y="csY90"/>
                  </a:cxn>
                  <a:cxn ang="0">
                    <a:pos x="csX91" y="csY91"/>
                  </a:cxn>
                  <a:cxn ang="0">
                    <a:pos x="csX92" y="csY92"/>
                  </a:cxn>
                </a:cxnLst>
                <a:rect l="l" t="t" r="r" b="b"/>
                <a:pathLst>
                  <a:path w="5456248" h="426406">
                    <a:moveTo>
                      <a:pt x="5263972" y="0"/>
                    </a:moveTo>
                    <a:lnTo>
                      <a:pt x="5173810" y="0"/>
                    </a:lnTo>
                    <a:lnTo>
                      <a:pt x="5053544" y="0"/>
                    </a:lnTo>
                    <a:lnTo>
                      <a:pt x="4963382" y="0"/>
                    </a:lnTo>
                    <a:lnTo>
                      <a:pt x="4893557" y="0"/>
                    </a:lnTo>
                    <a:lnTo>
                      <a:pt x="4803395" y="0"/>
                    </a:lnTo>
                    <a:lnTo>
                      <a:pt x="4683129" y="0"/>
                    </a:lnTo>
                    <a:lnTo>
                      <a:pt x="4603781" y="0"/>
                    </a:lnTo>
                    <a:lnTo>
                      <a:pt x="4592967" y="0"/>
                    </a:lnTo>
                    <a:lnTo>
                      <a:pt x="4528524" y="0"/>
                    </a:lnTo>
                    <a:lnTo>
                      <a:pt x="4513619" y="0"/>
                    </a:lnTo>
                    <a:lnTo>
                      <a:pt x="4438362" y="0"/>
                    </a:lnTo>
                    <a:lnTo>
                      <a:pt x="4393353" y="0"/>
                    </a:lnTo>
                    <a:lnTo>
                      <a:pt x="4318096" y="0"/>
                    </a:lnTo>
                    <a:lnTo>
                      <a:pt x="4303191" y="0"/>
                    </a:lnTo>
                    <a:lnTo>
                      <a:pt x="4238748" y="0"/>
                    </a:lnTo>
                    <a:lnTo>
                      <a:pt x="4227934" y="0"/>
                    </a:lnTo>
                    <a:lnTo>
                      <a:pt x="4148586" y="0"/>
                    </a:lnTo>
                    <a:lnTo>
                      <a:pt x="4028320" y="0"/>
                    </a:lnTo>
                    <a:lnTo>
                      <a:pt x="3938158" y="0"/>
                    </a:lnTo>
                    <a:lnTo>
                      <a:pt x="1518090" y="0"/>
                    </a:lnTo>
                    <a:lnTo>
                      <a:pt x="1427928" y="0"/>
                    </a:lnTo>
                    <a:lnTo>
                      <a:pt x="1307662" y="0"/>
                    </a:lnTo>
                    <a:lnTo>
                      <a:pt x="1228315" y="0"/>
                    </a:lnTo>
                    <a:lnTo>
                      <a:pt x="1217500" y="0"/>
                    </a:lnTo>
                    <a:lnTo>
                      <a:pt x="1153057" y="0"/>
                    </a:lnTo>
                    <a:lnTo>
                      <a:pt x="1138153" y="0"/>
                    </a:lnTo>
                    <a:lnTo>
                      <a:pt x="1062895" y="0"/>
                    </a:lnTo>
                    <a:lnTo>
                      <a:pt x="1017887" y="0"/>
                    </a:lnTo>
                    <a:lnTo>
                      <a:pt x="942629" y="0"/>
                    </a:lnTo>
                    <a:lnTo>
                      <a:pt x="927725" y="0"/>
                    </a:lnTo>
                    <a:lnTo>
                      <a:pt x="863282" y="0"/>
                    </a:lnTo>
                    <a:lnTo>
                      <a:pt x="852467" y="0"/>
                    </a:lnTo>
                    <a:lnTo>
                      <a:pt x="773120" y="0"/>
                    </a:lnTo>
                    <a:lnTo>
                      <a:pt x="652854" y="0"/>
                    </a:lnTo>
                    <a:lnTo>
                      <a:pt x="562692" y="0"/>
                    </a:lnTo>
                    <a:lnTo>
                      <a:pt x="492866" y="0"/>
                    </a:lnTo>
                    <a:lnTo>
                      <a:pt x="402704" y="0"/>
                    </a:lnTo>
                    <a:lnTo>
                      <a:pt x="282438" y="0"/>
                    </a:lnTo>
                    <a:lnTo>
                      <a:pt x="192276" y="0"/>
                    </a:lnTo>
                    <a:cubicBezTo>
                      <a:pt x="172644" y="0"/>
                      <a:pt x="153954" y="8556"/>
                      <a:pt x="141311" y="23432"/>
                    </a:cubicBezTo>
                    <a:lnTo>
                      <a:pt x="15431" y="171425"/>
                    </a:lnTo>
                    <a:lnTo>
                      <a:pt x="0" y="213135"/>
                    </a:lnTo>
                    <a:lnTo>
                      <a:pt x="0" y="213136"/>
                    </a:lnTo>
                    <a:lnTo>
                      <a:pt x="15431" y="254903"/>
                    </a:lnTo>
                    <a:lnTo>
                      <a:pt x="141311" y="402974"/>
                    </a:lnTo>
                    <a:cubicBezTo>
                      <a:pt x="153954" y="417851"/>
                      <a:pt x="172566" y="426406"/>
                      <a:pt x="192276" y="426406"/>
                    </a:cubicBezTo>
                    <a:lnTo>
                      <a:pt x="282438" y="426406"/>
                    </a:lnTo>
                    <a:lnTo>
                      <a:pt x="402704" y="426406"/>
                    </a:lnTo>
                    <a:lnTo>
                      <a:pt x="492866" y="426406"/>
                    </a:lnTo>
                    <a:lnTo>
                      <a:pt x="562692" y="426406"/>
                    </a:lnTo>
                    <a:lnTo>
                      <a:pt x="652854" y="426406"/>
                    </a:lnTo>
                    <a:lnTo>
                      <a:pt x="773120" y="426406"/>
                    </a:lnTo>
                    <a:lnTo>
                      <a:pt x="852467" y="426406"/>
                    </a:lnTo>
                    <a:lnTo>
                      <a:pt x="863282" y="426406"/>
                    </a:lnTo>
                    <a:lnTo>
                      <a:pt x="927725" y="426406"/>
                    </a:lnTo>
                    <a:lnTo>
                      <a:pt x="942629" y="426406"/>
                    </a:lnTo>
                    <a:lnTo>
                      <a:pt x="1017887" y="426406"/>
                    </a:lnTo>
                    <a:lnTo>
                      <a:pt x="1062895" y="426406"/>
                    </a:lnTo>
                    <a:lnTo>
                      <a:pt x="1138153" y="426406"/>
                    </a:lnTo>
                    <a:lnTo>
                      <a:pt x="1153057" y="426406"/>
                    </a:lnTo>
                    <a:lnTo>
                      <a:pt x="1217500" y="426406"/>
                    </a:lnTo>
                    <a:lnTo>
                      <a:pt x="1228315" y="426406"/>
                    </a:lnTo>
                    <a:lnTo>
                      <a:pt x="1307662" y="426406"/>
                    </a:lnTo>
                    <a:lnTo>
                      <a:pt x="1427928" y="426406"/>
                    </a:lnTo>
                    <a:lnTo>
                      <a:pt x="1518090" y="426406"/>
                    </a:lnTo>
                    <a:lnTo>
                      <a:pt x="3938158" y="426406"/>
                    </a:lnTo>
                    <a:lnTo>
                      <a:pt x="4028320" y="426406"/>
                    </a:lnTo>
                    <a:lnTo>
                      <a:pt x="4148586" y="426406"/>
                    </a:lnTo>
                    <a:lnTo>
                      <a:pt x="4227934" y="426406"/>
                    </a:lnTo>
                    <a:lnTo>
                      <a:pt x="4238748" y="426406"/>
                    </a:lnTo>
                    <a:lnTo>
                      <a:pt x="4303191" y="426406"/>
                    </a:lnTo>
                    <a:lnTo>
                      <a:pt x="4318096" y="426406"/>
                    </a:lnTo>
                    <a:lnTo>
                      <a:pt x="4393353" y="426406"/>
                    </a:lnTo>
                    <a:lnTo>
                      <a:pt x="4438362" y="426406"/>
                    </a:lnTo>
                    <a:lnTo>
                      <a:pt x="4513619" y="426406"/>
                    </a:lnTo>
                    <a:lnTo>
                      <a:pt x="4528524" y="426406"/>
                    </a:lnTo>
                    <a:lnTo>
                      <a:pt x="4592967" y="426406"/>
                    </a:lnTo>
                    <a:lnTo>
                      <a:pt x="4603781" y="426406"/>
                    </a:lnTo>
                    <a:lnTo>
                      <a:pt x="4683129" y="426406"/>
                    </a:lnTo>
                    <a:lnTo>
                      <a:pt x="4803395" y="426406"/>
                    </a:lnTo>
                    <a:lnTo>
                      <a:pt x="4893557" y="426406"/>
                    </a:lnTo>
                    <a:lnTo>
                      <a:pt x="4963382" y="426406"/>
                    </a:lnTo>
                    <a:lnTo>
                      <a:pt x="5053544" y="426406"/>
                    </a:lnTo>
                    <a:lnTo>
                      <a:pt x="5173810" y="426406"/>
                    </a:lnTo>
                    <a:lnTo>
                      <a:pt x="5263972" y="426406"/>
                    </a:lnTo>
                    <a:cubicBezTo>
                      <a:pt x="5283682" y="426406"/>
                      <a:pt x="5302294" y="417851"/>
                      <a:pt x="5314937" y="402974"/>
                    </a:cubicBezTo>
                    <a:lnTo>
                      <a:pt x="5440817" y="254903"/>
                    </a:lnTo>
                    <a:lnTo>
                      <a:pt x="5456248" y="213136"/>
                    </a:lnTo>
                    <a:lnTo>
                      <a:pt x="5456248" y="213135"/>
                    </a:lnTo>
                    <a:lnTo>
                      <a:pt x="5440817" y="171425"/>
                    </a:lnTo>
                    <a:lnTo>
                      <a:pt x="5314937" y="23432"/>
                    </a:lnTo>
                    <a:cubicBezTo>
                      <a:pt x="5302294" y="8556"/>
                      <a:pt x="5283604" y="0"/>
                      <a:pt x="5263972" y="0"/>
                    </a:cubicBezTo>
                    <a:close/>
                  </a:path>
                </a:pathLst>
              </a:custGeom>
              <a:solidFill>
                <a:srgbClr val="EFF7FE"/>
              </a:solidFill>
              <a:ln>
                <a:noFill/>
              </a:ln>
              <a:effectLst/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/>
                <a:endPara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endParaRPr>
              </a:p>
            </p:txBody>
          </p:sp>
          <p:sp>
            <p:nvSpPr>
              <p:cNvPr id="41" name="文本框 40"/>
              <p:cNvSpPr txBox="1"/>
              <p:nvPr/>
            </p:nvSpPr>
            <p:spPr>
              <a:xfrm>
                <a:off x="2470389" y="1191600"/>
                <a:ext cx="3357968" cy="337185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>
                <a:defPPr>
                  <a:defRPr lang="zh-CN"/>
                </a:defPPr>
                <a:lvl1pPr marL="71755" indent="0">
                  <a:lnSpc>
                    <a:spcPct val="100000"/>
                  </a:lnSpc>
                  <a:buNone/>
                  <a:defRPr sz="2400" b="1">
                    <a:gradFill>
                      <a:gsLst>
                        <a:gs pos="50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</a:defRPr>
                </a:lvl1pPr>
              </a:lstStyle>
              <a:p>
                <a:r>
                  <a:rPr lang="zh-CN" altLang="en-US" sz="1600"/>
                  <a:t>抗组胺 </a:t>
                </a:r>
                <a:r>
                  <a:rPr lang="en-US" altLang="zh-CN" sz="1600"/>
                  <a:t>+ </a:t>
                </a:r>
                <a:r>
                  <a:rPr lang="zh-CN" altLang="en-US" sz="1600"/>
                  <a:t>稳定肥大细胞双靶点</a:t>
                </a:r>
                <a:endParaRPr lang="zh-CN" altLang="en-US" sz="1600"/>
              </a:p>
            </p:txBody>
          </p:sp>
        </p:grpSp>
        <p:sp>
          <p:nvSpPr>
            <p:cNvPr id="47" name="任意多边形: 形状 46"/>
            <p:cNvSpPr/>
            <p:nvPr/>
          </p:nvSpPr>
          <p:spPr>
            <a:xfrm flipH="1">
              <a:off x="372109" y="3505847"/>
              <a:ext cx="2028436" cy="426406"/>
            </a:xfrm>
            <a:custGeom>
              <a:avLst/>
              <a:gdLst>
                <a:gd name="csX0" fmla="*/ 1836160 w 2028436"/>
                <a:gd name="csY0" fmla="*/ 0 h 426406"/>
                <a:gd name="csX1" fmla="*/ 1745998 w 2028436"/>
                <a:gd name="csY1" fmla="*/ 0 h 426406"/>
                <a:gd name="csX2" fmla="*/ 1625732 w 2028436"/>
                <a:gd name="csY2" fmla="*/ 0 h 426406"/>
                <a:gd name="csX3" fmla="*/ 1535570 w 2028436"/>
                <a:gd name="csY3" fmla="*/ 0 h 426406"/>
                <a:gd name="csX4" fmla="*/ 1518090 w 2028436"/>
                <a:gd name="csY4" fmla="*/ 0 h 426406"/>
                <a:gd name="csX5" fmla="*/ 1465745 w 2028436"/>
                <a:gd name="csY5" fmla="*/ 0 h 426406"/>
                <a:gd name="csX6" fmla="*/ 1427928 w 2028436"/>
                <a:gd name="csY6" fmla="*/ 0 h 426406"/>
                <a:gd name="csX7" fmla="*/ 1375583 w 2028436"/>
                <a:gd name="csY7" fmla="*/ 0 h 426406"/>
                <a:gd name="csX8" fmla="*/ 1307662 w 2028436"/>
                <a:gd name="csY8" fmla="*/ 0 h 426406"/>
                <a:gd name="csX9" fmla="*/ 1255317 w 2028436"/>
                <a:gd name="csY9" fmla="*/ 0 h 426406"/>
                <a:gd name="csX10" fmla="*/ 1228315 w 2028436"/>
                <a:gd name="csY10" fmla="*/ 0 h 426406"/>
                <a:gd name="csX11" fmla="*/ 1217500 w 2028436"/>
                <a:gd name="csY11" fmla="*/ 0 h 426406"/>
                <a:gd name="csX12" fmla="*/ 1175969 w 2028436"/>
                <a:gd name="csY12" fmla="*/ 0 h 426406"/>
                <a:gd name="csX13" fmla="*/ 1165155 w 2028436"/>
                <a:gd name="csY13" fmla="*/ 0 h 426406"/>
                <a:gd name="csX14" fmla="*/ 1153057 w 2028436"/>
                <a:gd name="csY14" fmla="*/ 0 h 426406"/>
                <a:gd name="csX15" fmla="*/ 1138153 w 2028436"/>
                <a:gd name="csY15" fmla="*/ 0 h 426406"/>
                <a:gd name="csX16" fmla="*/ 1100712 w 2028436"/>
                <a:gd name="csY16" fmla="*/ 0 h 426406"/>
                <a:gd name="csX17" fmla="*/ 1085807 w 2028436"/>
                <a:gd name="csY17" fmla="*/ 0 h 426406"/>
                <a:gd name="csX18" fmla="*/ 1062895 w 2028436"/>
                <a:gd name="csY18" fmla="*/ 0 h 426406"/>
                <a:gd name="csX19" fmla="*/ 1017887 w 2028436"/>
                <a:gd name="csY19" fmla="*/ 0 h 426406"/>
                <a:gd name="csX20" fmla="*/ 1010550 w 2028436"/>
                <a:gd name="csY20" fmla="*/ 0 h 426406"/>
                <a:gd name="csX21" fmla="*/ 965541 w 2028436"/>
                <a:gd name="csY21" fmla="*/ 0 h 426406"/>
                <a:gd name="csX22" fmla="*/ 942629 w 2028436"/>
                <a:gd name="csY22" fmla="*/ 0 h 426406"/>
                <a:gd name="csX23" fmla="*/ 927725 w 2028436"/>
                <a:gd name="csY23" fmla="*/ 0 h 426406"/>
                <a:gd name="csX24" fmla="*/ 890284 w 2028436"/>
                <a:gd name="csY24" fmla="*/ 0 h 426406"/>
                <a:gd name="csX25" fmla="*/ 875379 w 2028436"/>
                <a:gd name="csY25" fmla="*/ 0 h 426406"/>
                <a:gd name="csX26" fmla="*/ 863282 w 2028436"/>
                <a:gd name="csY26" fmla="*/ 0 h 426406"/>
                <a:gd name="csX27" fmla="*/ 852467 w 2028436"/>
                <a:gd name="csY27" fmla="*/ 0 h 426406"/>
                <a:gd name="csX28" fmla="*/ 810936 w 2028436"/>
                <a:gd name="csY28" fmla="*/ 0 h 426406"/>
                <a:gd name="csX29" fmla="*/ 800122 w 2028436"/>
                <a:gd name="csY29" fmla="*/ 0 h 426406"/>
                <a:gd name="csX30" fmla="*/ 773120 w 2028436"/>
                <a:gd name="csY30" fmla="*/ 0 h 426406"/>
                <a:gd name="csX31" fmla="*/ 720774 w 2028436"/>
                <a:gd name="csY31" fmla="*/ 0 h 426406"/>
                <a:gd name="csX32" fmla="*/ 652854 w 2028436"/>
                <a:gd name="csY32" fmla="*/ 0 h 426406"/>
                <a:gd name="csX33" fmla="*/ 600508 w 2028436"/>
                <a:gd name="csY33" fmla="*/ 0 h 426406"/>
                <a:gd name="csX34" fmla="*/ 562692 w 2028436"/>
                <a:gd name="csY34" fmla="*/ 0 h 426406"/>
                <a:gd name="csX35" fmla="*/ 510346 w 2028436"/>
                <a:gd name="csY35" fmla="*/ 0 h 426406"/>
                <a:gd name="csX36" fmla="*/ 492866 w 2028436"/>
                <a:gd name="csY36" fmla="*/ 0 h 426406"/>
                <a:gd name="csX37" fmla="*/ 402704 w 2028436"/>
                <a:gd name="csY37" fmla="*/ 0 h 426406"/>
                <a:gd name="csX38" fmla="*/ 282438 w 2028436"/>
                <a:gd name="csY38" fmla="*/ 0 h 426406"/>
                <a:gd name="csX39" fmla="*/ 192276 w 2028436"/>
                <a:gd name="csY39" fmla="*/ 0 h 426406"/>
                <a:gd name="csX40" fmla="*/ 141311 w 2028436"/>
                <a:gd name="csY40" fmla="*/ 23432 h 426406"/>
                <a:gd name="csX41" fmla="*/ 15431 w 2028436"/>
                <a:gd name="csY41" fmla="*/ 171425 h 426406"/>
                <a:gd name="csX42" fmla="*/ 0 w 2028436"/>
                <a:gd name="csY42" fmla="*/ 213135 h 426406"/>
                <a:gd name="csX43" fmla="*/ 0 w 2028436"/>
                <a:gd name="csY43" fmla="*/ 213136 h 426406"/>
                <a:gd name="csX44" fmla="*/ 15431 w 2028436"/>
                <a:gd name="csY44" fmla="*/ 254903 h 426406"/>
                <a:gd name="csX45" fmla="*/ 141311 w 2028436"/>
                <a:gd name="csY45" fmla="*/ 402974 h 426406"/>
                <a:gd name="csX46" fmla="*/ 192276 w 2028436"/>
                <a:gd name="csY46" fmla="*/ 426406 h 426406"/>
                <a:gd name="csX47" fmla="*/ 282438 w 2028436"/>
                <a:gd name="csY47" fmla="*/ 426406 h 426406"/>
                <a:gd name="csX48" fmla="*/ 402704 w 2028436"/>
                <a:gd name="csY48" fmla="*/ 426406 h 426406"/>
                <a:gd name="csX49" fmla="*/ 492866 w 2028436"/>
                <a:gd name="csY49" fmla="*/ 426406 h 426406"/>
                <a:gd name="csX50" fmla="*/ 510346 w 2028436"/>
                <a:gd name="csY50" fmla="*/ 426406 h 426406"/>
                <a:gd name="csX51" fmla="*/ 562692 w 2028436"/>
                <a:gd name="csY51" fmla="*/ 426406 h 426406"/>
                <a:gd name="csX52" fmla="*/ 600508 w 2028436"/>
                <a:gd name="csY52" fmla="*/ 426406 h 426406"/>
                <a:gd name="csX53" fmla="*/ 652854 w 2028436"/>
                <a:gd name="csY53" fmla="*/ 426406 h 426406"/>
                <a:gd name="csX54" fmla="*/ 720774 w 2028436"/>
                <a:gd name="csY54" fmla="*/ 426406 h 426406"/>
                <a:gd name="csX55" fmla="*/ 773120 w 2028436"/>
                <a:gd name="csY55" fmla="*/ 426406 h 426406"/>
                <a:gd name="csX56" fmla="*/ 800122 w 2028436"/>
                <a:gd name="csY56" fmla="*/ 426406 h 426406"/>
                <a:gd name="csX57" fmla="*/ 810936 w 2028436"/>
                <a:gd name="csY57" fmla="*/ 426406 h 426406"/>
                <a:gd name="csX58" fmla="*/ 852467 w 2028436"/>
                <a:gd name="csY58" fmla="*/ 426406 h 426406"/>
                <a:gd name="csX59" fmla="*/ 863282 w 2028436"/>
                <a:gd name="csY59" fmla="*/ 426406 h 426406"/>
                <a:gd name="csX60" fmla="*/ 875379 w 2028436"/>
                <a:gd name="csY60" fmla="*/ 426406 h 426406"/>
                <a:gd name="csX61" fmla="*/ 890284 w 2028436"/>
                <a:gd name="csY61" fmla="*/ 426406 h 426406"/>
                <a:gd name="csX62" fmla="*/ 927725 w 2028436"/>
                <a:gd name="csY62" fmla="*/ 426406 h 426406"/>
                <a:gd name="csX63" fmla="*/ 942629 w 2028436"/>
                <a:gd name="csY63" fmla="*/ 426406 h 426406"/>
                <a:gd name="csX64" fmla="*/ 965541 w 2028436"/>
                <a:gd name="csY64" fmla="*/ 426406 h 426406"/>
                <a:gd name="csX65" fmla="*/ 1010550 w 2028436"/>
                <a:gd name="csY65" fmla="*/ 426406 h 426406"/>
                <a:gd name="csX66" fmla="*/ 1017887 w 2028436"/>
                <a:gd name="csY66" fmla="*/ 426406 h 426406"/>
                <a:gd name="csX67" fmla="*/ 1062895 w 2028436"/>
                <a:gd name="csY67" fmla="*/ 426406 h 426406"/>
                <a:gd name="csX68" fmla="*/ 1085807 w 2028436"/>
                <a:gd name="csY68" fmla="*/ 426406 h 426406"/>
                <a:gd name="csX69" fmla="*/ 1100712 w 2028436"/>
                <a:gd name="csY69" fmla="*/ 426406 h 426406"/>
                <a:gd name="csX70" fmla="*/ 1138153 w 2028436"/>
                <a:gd name="csY70" fmla="*/ 426406 h 426406"/>
                <a:gd name="csX71" fmla="*/ 1153057 w 2028436"/>
                <a:gd name="csY71" fmla="*/ 426406 h 426406"/>
                <a:gd name="csX72" fmla="*/ 1165155 w 2028436"/>
                <a:gd name="csY72" fmla="*/ 426406 h 426406"/>
                <a:gd name="csX73" fmla="*/ 1175969 w 2028436"/>
                <a:gd name="csY73" fmla="*/ 426406 h 426406"/>
                <a:gd name="csX74" fmla="*/ 1217500 w 2028436"/>
                <a:gd name="csY74" fmla="*/ 426406 h 426406"/>
                <a:gd name="csX75" fmla="*/ 1228315 w 2028436"/>
                <a:gd name="csY75" fmla="*/ 426406 h 426406"/>
                <a:gd name="csX76" fmla="*/ 1255317 w 2028436"/>
                <a:gd name="csY76" fmla="*/ 426406 h 426406"/>
                <a:gd name="csX77" fmla="*/ 1307662 w 2028436"/>
                <a:gd name="csY77" fmla="*/ 426406 h 426406"/>
                <a:gd name="csX78" fmla="*/ 1375583 w 2028436"/>
                <a:gd name="csY78" fmla="*/ 426406 h 426406"/>
                <a:gd name="csX79" fmla="*/ 1427928 w 2028436"/>
                <a:gd name="csY79" fmla="*/ 426406 h 426406"/>
                <a:gd name="csX80" fmla="*/ 1465745 w 2028436"/>
                <a:gd name="csY80" fmla="*/ 426406 h 426406"/>
                <a:gd name="csX81" fmla="*/ 1518090 w 2028436"/>
                <a:gd name="csY81" fmla="*/ 426406 h 426406"/>
                <a:gd name="csX82" fmla="*/ 1535570 w 2028436"/>
                <a:gd name="csY82" fmla="*/ 426406 h 426406"/>
                <a:gd name="csX83" fmla="*/ 1625732 w 2028436"/>
                <a:gd name="csY83" fmla="*/ 426406 h 426406"/>
                <a:gd name="csX84" fmla="*/ 1745998 w 2028436"/>
                <a:gd name="csY84" fmla="*/ 426406 h 426406"/>
                <a:gd name="csX85" fmla="*/ 1836160 w 2028436"/>
                <a:gd name="csY85" fmla="*/ 426406 h 426406"/>
                <a:gd name="csX86" fmla="*/ 1887125 w 2028436"/>
                <a:gd name="csY86" fmla="*/ 402974 h 426406"/>
                <a:gd name="csX87" fmla="*/ 2013005 w 2028436"/>
                <a:gd name="csY87" fmla="*/ 254903 h 426406"/>
                <a:gd name="csX88" fmla="*/ 2028436 w 2028436"/>
                <a:gd name="csY88" fmla="*/ 213136 h 426406"/>
                <a:gd name="csX89" fmla="*/ 2028436 w 2028436"/>
                <a:gd name="csY89" fmla="*/ 213135 h 426406"/>
                <a:gd name="csX90" fmla="*/ 2013005 w 2028436"/>
                <a:gd name="csY90" fmla="*/ 171425 h 426406"/>
                <a:gd name="csX91" fmla="*/ 1887125 w 2028436"/>
                <a:gd name="csY91" fmla="*/ 23432 h 426406"/>
                <a:gd name="csX92" fmla="*/ 1836160 w 2028436"/>
                <a:gd name="csY92" fmla="*/ 0 h 426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</a:cxnLst>
              <a:rect l="l" t="t" r="r" b="b"/>
              <a:pathLst>
                <a:path w="2028436" h="426406">
                  <a:moveTo>
                    <a:pt x="1836160" y="0"/>
                  </a:moveTo>
                  <a:lnTo>
                    <a:pt x="1745998" y="0"/>
                  </a:lnTo>
                  <a:lnTo>
                    <a:pt x="1625732" y="0"/>
                  </a:lnTo>
                  <a:lnTo>
                    <a:pt x="1535570" y="0"/>
                  </a:lnTo>
                  <a:lnTo>
                    <a:pt x="1518090" y="0"/>
                  </a:lnTo>
                  <a:lnTo>
                    <a:pt x="1465745" y="0"/>
                  </a:lnTo>
                  <a:lnTo>
                    <a:pt x="1427928" y="0"/>
                  </a:lnTo>
                  <a:lnTo>
                    <a:pt x="1375583" y="0"/>
                  </a:lnTo>
                  <a:lnTo>
                    <a:pt x="1307662" y="0"/>
                  </a:lnTo>
                  <a:lnTo>
                    <a:pt x="1255317" y="0"/>
                  </a:lnTo>
                  <a:lnTo>
                    <a:pt x="1228315" y="0"/>
                  </a:lnTo>
                  <a:lnTo>
                    <a:pt x="1217500" y="0"/>
                  </a:lnTo>
                  <a:lnTo>
                    <a:pt x="1175969" y="0"/>
                  </a:lnTo>
                  <a:lnTo>
                    <a:pt x="1165155" y="0"/>
                  </a:lnTo>
                  <a:lnTo>
                    <a:pt x="1153057" y="0"/>
                  </a:lnTo>
                  <a:lnTo>
                    <a:pt x="1138153" y="0"/>
                  </a:lnTo>
                  <a:lnTo>
                    <a:pt x="1100712" y="0"/>
                  </a:lnTo>
                  <a:lnTo>
                    <a:pt x="1085807" y="0"/>
                  </a:lnTo>
                  <a:lnTo>
                    <a:pt x="1062895" y="0"/>
                  </a:lnTo>
                  <a:lnTo>
                    <a:pt x="1017887" y="0"/>
                  </a:lnTo>
                  <a:lnTo>
                    <a:pt x="1010550" y="0"/>
                  </a:lnTo>
                  <a:lnTo>
                    <a:pt x="965541" y="0"/>
                  </a:lnTo>
                  <a:lnTo>
                    <a:pt x="942629" y="0"/>
                  </a:lnTo>
                  <a:lnTo>
                    <a:pt x="927725" y="0"/>
                  </a:lnTo>
                  <a:lnTo>
                    <a:pt x="890284" y="0"/>
                  </a:lnTo>
                  <a:lnTo>
                    <a:pt x="875379" y="0"/>
                  </a:lnTo>
                  <a:lnTo>
                    <a:pt x="863282" y="0"/>
                  </a:lnTo>
                  <a:lnTo>
                    <a:pt x="852467" y="0"/>
                  </a:lnTo>
                  <a:lnTo>
                    <a:pt x="810936" y="0"/>
                  </a:lnTo>
                  <a:lnTo>
                    <a:pt x="800122" y="0"/>
                  </a:lnTo>
                  <a:lnTo>
                    <a:pt x="773120" y="0"/>
                  </a:lnTo>
                  <a:lnTo>
                    <a:pt x="720774" y="0"/>
                  </a:lnTo>
                  <a:lnTo>
                    <a:pt x="652854" y="0"/>
                  </a:lnTo>
                  <a:lnTo>
                    <a:pt x="600508" y="0"/>
                  </a:lnTo>
                  <a:lnTo>
                    <a:pt x="562692" y="0"/>
                  </a:lnTo>
                  <a:lnTo>
                    <a:pt x="510346" y="0"/>
                  </a:lnTo>
                  <a:lnTo>
                    <a:pt x="492866" y="0"/>
                  </a:lnTo>
                  <a:lnTo>
                    <a:pt x="402704" y="0"/>
                  </a:lnTo>
                  <a:lnTo>
                    <a:pt x="282438" y="0"/>
                  </a:lnTo>
                  <a:lnTo>
                    <a:pt x="192276" y="0"/>
                  </a:lnTo>
                  <a:cubicBezTo>
                    <a:pt x="172644" y="0"/>
                    <a:pt x="153954" y="8556"/>
                    <a:pt x="141311" y="23432"/>
                  </a:cubicBezTo>
                  <a:lnTo>
                    <a:pt x="15431" y="171425"/>
                  </a:lnTo>
                  <a:lnTo>
                    <a:pt x="0" y="213135"/>
                  </a:lnTo>
                  <a:lnTo>
                    <a:pt x="0" y="213136"/>
                  </a:lnTo>
                  <a:lnTo>
                    <a:pt x="15431" y="254903"/>
                  </a:lnTo>
                  <a:lnTo>
                    <a:pt x="141311" y="402974"/>
                  </a:lnTo>
                  <a:cubicBezTo>
                    <a:pt x="153954" y="417851"/>
                    <a:pt x="172566" y="426406"/>
                    <a:pt x="192276" y="426406"/>
                  </a:cubicBezTo>
                  <a:lnTo>
                    <a:pt x="282438" y="426406"/>
                  </a:lnTo>
                  <a:lnTo>
                    <a:pt x="402704" y="426406"/>
                  </a:lnTo>
                  <a:lnTo>
                    <a:pt x="492866" y="426406"/>
                  </a:lnTo>
                  <a:lnTo>
                    <a:pt x="510346" y="426406"/>
                  </a:lnTo>
                  <a:lnTo>
                    <a:pt x="562692" y="426406"/>
                  </a:lnTo>
                  <a:lnTo>
                    <a:pt x="600508" y="426406"/>
                  </a:lnTo>
                  <a:lnTo>
                    <a:pt x="652854" y="426406"/>
                  </a:lnTo>
                  <a:lnTo>
                    <a:pt x="720774" y="426406"/>
                  </a:lnTo>
                  <a:lnTo>
                    <a:pt x="773120" y="426406"/>
                  </a:lnTo>
                  <a:lnTo>
                    <a:pt x="800122" y="426406"/>
                  </a:lnTo>
                  <a:lnTo>
                    <a:pt x="810936" y="426406"/>
                  </a:lnTo>
                  <a:lnTo>
                    <a:pt x="852467" y="426406"/>
                  </a:lnTo>
                  <a:lnTo>
                    <a:pt x="863282" y="426406"/>
                  </a:lnTo>
                  <a:lnTo>
                    <a:pt x="875379" y="426406"/>
                  </a:lnTo>
                  <a:lnTo>
                    <a:pt x="890284" y="426406"/>
                  </a:lnTo>
                  <a:lnTo>
                    <a:pt x="927725" y="426406"/>
                  </a:lnTo>
                  <a:lnTo>
                    <a:pt x="942629" y="426406"/>
                  </a:lnTo>
                  <a:lnTo>
                    <a:pt x="965541" y="426406"/>
                  </a:lnTo>
                  <a:lnTo>
                    <a:pt x="1010550" y="426406"/>
                  </a:lnTo>
                  <a:lnTo>
                    <a:pt x="1017887" y="426406"/>
                  </a:lnTo>
                  <a:lnTo>
                    <a:pt x="1062895" y="426406"/>
                  </a:lnTo>
                  <a:lnTo>
                    <a:pt x="1085807" y="426406"/>
                  </a:lnTo>
                  <a:lnTo>
                    <a:pt x="1100712" y="426406"/>
                  </a:lnTo>
                  <a:lnTo>
                    <a:pt x="1138153" y="426406"/>
                  </a:lnTo>
                  <a:lnTo>
                    <a:pt x="1153057" y="426406"/>
                  </a:lnTo>
                  <a:lnTo>
                    <a:pt x="1165155" y="426406"/>
                  </a:lnTo>
                  <a:lnTo>
                    <a:pt x="1175969" y="426406"/>
                  </a:lnTo>
                  <a:lnTo>
                    <a:pt x="1217500" y="426406"/>
                  </a:lnTo>
                  <a:lnTo>
                    <a:pt x="1228315" y="426406"/>
                  </a:lnTo>
                  <a:lnTo>
                    <a:pt x="1255317" y="426406"/>
                  </a:lnTo>
                  <a:lnTo>
                    <a:pt x="1307662" y="426406"/>
                  </a:lnTo>
                  <a:lnTo>
                    <a:pt x="1375583" y="426406"/>
                  </a:lnTo>
                  <a:lnTo>
                    <a:pt x="1427928" y="426406"/>
                  </a:lnTo>
                  <a:lnTo>
                    <a:pt x="1465745" y="426406"/>
                  </a:lnTo>
                  <a:lnTo>
                    <a:pt x="1518090" y="426406"/>
                  </a:lnTo>
                  <a:lnTo>
                    <a:pt x="1535570" y="426406"/>
                  </a:lnTo>
                  <a:lnTo>
                    <a:pt x="1625732" y="426406"/>
                  </a:lnTo>
                  <a:lnTo>
                    <a:pt x="1745998" y="426406"/>
                  </a:lnTo>
                  <a:lnTo>
                    <a:pt x="1836160" y="426406"/>
                  </a:lnTo>
                  <a:cubicBezTo>
                    <a:pt x="1855870" y="426406"/>
                    <a:pt x="1874482" y="417851"/>
                    <a:pt x="1887125" y="402974"/>
                  </a:cubicBezTo>
                  <a:lnTo>
                    <a:pt x="2013005" y="254903"/>
                  </a:lnTo>
                  <a:lnTo>
                    <a:pt x="2028436" y="213136"/>
                  </a:lnTo>
                  <a:lnTo>
                    <a:pt x="2028436" y="213135"/>
                  </a:lnTo>
                  <a:lnTo>
                    <a:pt x="2013005" y="171425"/>
                  </a:lnTo>
                  <a:lnTo>
                    <a:pt x="1887125" y="23432"/>
                  </a:lnTo>
                  <a:cubicBezTo>
                    <a:pt x="1874482" y="8556"/>
                    <a:pt x="1855792" y="0"/>
                    <a:pt x="1836160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360045" algn="ctr"/>
              <a:r>
                <a: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rPr>
                <a:t>药理机制创新</a:t>
              </a:r>
              <a:endParaRPr lang="zh-CN" altLang="en-US" sz="1600" b="1">
                <a:gradFill>
                  <a:gsLst>
                    <a:gs pos="50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pic>
          <p:nvPicPr>
            <p:cNvPr id="55" name="图形 54"/>
            <p:cNvPicPr>
              <a:picLocks noChangeAspect="1"/>
            </p:cNvPicPr>
            <p:nvPr/>
          </p:nvPicPr>
          <p:blipFill>
            <a:blip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586686" y="3579509"/>
              <a:ext cx="276436" cy="276436"/>
            </a:xfrm>
            <a:prstGeom prst="rect">
              <a:avLst/>
            </a:prstGeom>
          </p:spPr>
        </p:pic>
      </p:grpSp>
      <p:grpSp>
        <p:nvGrpSpPr>
          <p:cNvPr id="79" name="组合 78"/>
          <p:cNvGrpSpPr/>
          <p:nvPr/>
        </p:nvGrpSpPr>
        <p:grpSpPr>
          <a:xfrm>
            <a:off x="6303271" y="3529842"/>
            <a:ext cx="5456248" cy="426406"/>
            <a:chOff x="6361101" y="3505847"/>
            <a:chExt cx="5456248" cy="426406"/>
          </a:xfrm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grpSpPr>
        <p:grpSp>
          <p:nvGrpSpPr>
            <p:cNvPr id="42" name="组合 41"/>
            <p:cNvGrpSpPr/>
            <p:nvPr/>
          </p:nvGrpSpPr>
          <p:grpSpPr>
            <a:xfrm>
              <a:off x="6361101" y="3505847"/>
              <a:ext cx="5456248" cy="426406"/>
              <a:chOff x="372109" y="1146990"/>
              <a:chExt cx="5456248" cy="426406"/>
            </a:xfrm>
          </p:grpSpPr>
          <p:sp>
            <p:nvSpPr>
              <p:cNvPr id="44" name="任意多边形: 形状 43"/>
              <p:cNvSpPr/>
              <p:nvPr/>
            </p:nvSpPr>
            <p:spPr>
              <a:xfrm flipH="1">
                <a:off x="372109" y="1146990"/>
                <a:ext cx="5456248" cy="426406"/>
              </a:xfrm>
              <a:custGeom>
                <a:avLst/>
                <a:gdLst>
                  <a:gd name="csX0" fmla="*/ 5263972 w 5456248"/>
                  <a:gd name="csY0" fmla="*/ 0 h 426406"/>
                  <a:gd name="csX1" fmla="*/ 5173810 w 5456248"/>
                  <a:gd name="csY1" fmla="*/ 0 h 426406"/>
                  <a:gd name="csX2" fmla="*/ 5053544 w 5456248"/>
                  <a:gd name="csY2" fmla="*/ 0 h 426406"/>
                  <a:gd name="csX3" fmla="*/ 4963382 w 5456248"/>
                  <a:gd name="csY3" fmla="*/ 0 h 426406"/>
                  <a:gd name="csX4" fmla="*/ 4893557 w 5456248"/>
                  <a:gd name="csY4" fmla="*/ 0 h 426406"/>
                  <a:gd name="csX5" fmla="*/ 4803395 w 5456248"/>
                  <a:gd name="csY5" fmla="*/ 0 h 426406"/>
                  <a:gd name="csX6" fmla="*/ 4683129 w 5456248"/>
                  <a:gd name="csY6" fmla="*/ 0 h 426406"/>
                  <a:gd name="csX7" fmla="*/ 4603781 w 5456248"/>
                  <a:gd name="csY7" fmla="*/ 0 h 426406"/>
                  <a:gd name="csX8" fmla="*/ 4592967 w 5456248"/>
                  <a:gd name="csY8" fmla="*/ 0 h 426406"/>
                  <a:gd name="csX9" fmla="*/ 4528524 w 5456248"/>
                  <a:gd name="csY9" fmla="*/ 0 h 426406"/>
                  <a:gd name="csX10" fmla="*/ 4513619 w 5456248"/>
                  <a:gd name="csY10" fmla="*/ 0 h 426406"/>
                  <a:gd name="csX11" fmla="*/ 4438362 w 5456248"/>
                  <a:gd name="csY11" fmla="*/ 0 h 426406"/>
                  <a:gd name="csX12" fmla="*/ 4393353 w 5456248"/>
                  <a:gd name="csY12" fmla="*/ 0 h 426406"/>
                  <a:gd name="csX13" fmla="*/ 4318096 w 5456248"/>
                  <a:gd name="csY13" fmla="*/ 0 h 426406"/>
                  <a:gd name="csX14" fmla="*/ 4303191 w 5456248"/>
                  <a:gd name="csY14" fmla="*/ 0 h 426406"/>
                  <a:gd name="csX15" fmla="*/ 4238748 w 5456248"/>
                  <a:gd name="csY15" fmla="*/ 0 h 426406"/>
                  <a:gd name="csX16" fmla="*/ 4227934 w 5456248"/>
                  <a:gd name="csY16" fmla="*/ 0 h 426406"/>
                  <a:gd name="csX17" fmla="*/ 4148586 w 5456248"/>
                  <a:gd name="csY17" fmla="*/ 0 h 426406"/>
                  <a:gd name="csX18" fmla="*/ 4028320 w 5456248"/>
                  <a:gd name="csY18" fmla="*/ 0 h 426406"/>
                  <a:gd name="csX19" fmla="*/ 3938158 w 5456248"/>
                  <a:gd name="csY19" fmla="*/ 0 h 426406"/>
                  <a:gd name="csX20" fmla="*/ 1518090 w 5456248"/>
                  <a:gd name="csY20" fmla="*/ 0 h 426406"/>
                  <a:gd name="csX21" fmla="*/ 1427928 w 5456248"/>
                  <a:gd name="csY21" fmla="*/ 0 h 426406"/>
                  <a:gd name="csX22" fmla="*/ 1307662 w 5456248"/>
                  <a:gd name="csY22" fmla="*/ 0 h 426406"/>
                  <a:gd name="csX23" fmla="*/ 1228315 w 5456248"/>
                  <a:gd name="csY23" fmla="*/ 0 h 426406"/>
                  <a:gd name="csX24" fmla="*/ 1217500 w 5456248"/>
                  <a:gd name="csY24" fmla="*/ 0 h 426406"/>
                  <a:gd name="csX25" fmla="*/ 1153057 w 5456248"/>
                  <a:gd name="csY25" fmla="*/ 0 h 426406"/>
                  <a:gd name="csX26" fmla="*/ 1138153 w 5456248"/>
                  <a:gd name="csY26" fmla="*/ 0 h 426406"/>
                  <a:gd name="csX27" fmla="*/ 1062895 w 5456248"/>
                  <a:gd name="csY27" fmla="*/ 0 h 426406"/>
                  <a:gd name="csX28" fmla="*/ 1017887 w 5456248"/>
                  <a:gd name="csY28" fmla="*/ 0 h 426406"/>
                  <a:gd name="csX29" fmla="*/ 942629 w 5456248"/>
                  <a:gd name="csY29" fmla="*/ 0 h 426406"/>
                  <a:gd name="csX30" fmla="*/ 927725 w 5456248"/>
                  <a:gd name="csY30" fmla="*/ 0 h 426406"/>
                  <a:gd name="csX31" fmla="*/ 863282 w 5456248"/>
                  <a:gd name="csY31" fmla="*/ 0 h 426406"/>
                  <a:gd name="csX32" fmla="*/ 852467 w 5456248"/>
                  <a:gd name="csY32" fmla="*/ 0 h 426406"/>
                  <a:gd name="csX33" fmla="*/ 773120 w 5456248"/>
                  <a:gd name="csY33" fmla="*/ 0 h 426406"/>
                  <a:gd name="csX34" fmla="*/ 652854 w 5456248"/>
                  <a:gd name="csY34" fmla="*/ 0 h 426406"/>
                  <a:gd name="csX35" fmla="*/ 562692 w 5456248"/>
                  <a:gd name="csY35" fmla="*/ 0 h 426406"/>
                  <a:gd name="csX36" fmla="*/ 492866 w 5456248"/>
                  <a:gd name="csY36" fmla="*/ 0 h 426406"/>
                  <a:gd name="csX37" fmla="*/ 402704 w 5456248"/>
                  <a:gd name="csY37" fmla="*/ 0 h 426406"/>
                  <a:gd name="csX38" fmla="*/ 282438 w 5456248"/>
                  <a:gd name="csY38" fmla="*/ 0 h 426406"/>
                  <a:gd name="csX39" fmla="*/ 192276 w 5456248"/>
                  <a:gd name="csY39" fmla="*/ 0 h 426406"/>
                  <a:gd name="csX40" fmla="*/ 141311 w 5456248"/>
                  <a:gd name="csY40" fmla="*/ 23432 h 426406"/>
                  <a:gd name="csX41" fmla="*/ 15431 w 5456248"/>
                  <a:gd name="csY41" fmla="*/ 171425 h 426406"/>
                  <a:gd name="csX42" fmla="*/ 0 w 5456248"/>
                  <a:gd name="csY42" fmla="*/ 213135 h 426406"/>
                  <a:gd name="csX43" fmla="*/ 0 w 5456248"/>
                  <a:gd name="csY43" fmla="*/ 213136 h 426406"/>
                  <a:gd name="csX44" fmla="*/ 15431 w 5456248"/>
                  <a:gd name="csY44" fmla="*/ 254903 h 426406"/>
                  <a:gd name="csX45" fmla="*/ 141311 w 5456248"/>
                  <a:gd name="csY45" fmla="*/ 402974 h 426406"/>
                  <a:gd name="csX46" fmla="*/ 192276 w 5456248"/>
                  <a:gd name="csY46" fmla="*/ 426406 h 426406"/>
                  <a:gd name="csX47" fmla="*/ 282438 w 5456248"/>
                  <a:gd name="csY47" fmla="*/ 426406 h 426406"/>
                  <a:gd name="csX48" fmla="*/ 402704 w 5456248"/>
                  <a:gd name="csY48" fmla="*/ 426406 h 426406"/>
                  <a:gd name="csX49" fmla="*/ 492866 w 5456248"/>
                  <a:gd name="csY49" fmla="*/ 426406 h 426406"/>
                  <a:gd name="csX50" fmla="*/ 562692 w 5456248"/>
                  <a:gd name="csY50" fmla="*/ 426406 h 426406"/>
                  <a:gd name="csX51" fmla="*/ 652854 w 5456248"/>
                  <a:gd name="csY51" fmla="*/ 426406 h 426406"/>
                  <a:gd name="csX52" fmla="*/ 773120 w 5456248"/>
                  <a:gd name="csY52" fmla="*/ 426406 h 426406"/>
                  <a:gd name="csX53" fmla="*/ 852467 w 5456248"/>
                  <a:gd name="csY53" fmla="*/ 426406 h 426406"/>
                  <a:gd name="csX54" fmla="*/ 863282 w 5456248"/>
                  <a:gd name="csY54" fmla="*/ 426406 h 426406"/>
                  <a:gd name="csX55" fmla="*/ 927725 w 5456248"/>
                  <a:gd name="csY55" fmla="*/ 426406 h 426406"/>
                  <a:gd name="csX56" fmla="*/ 942629 w 5456248"/>
                  <a:gd name="csY56" fmla="*/ 426406 h 426406"/>
                  <a:gd name="csX57" fmla="*/ 1017887 w 5456248"/>
                  <a:gd name="csY57" fmla="*/ 426406 h 426406"/>
                  <a:gd name="csX58" fmla="*/ 1062895 w 5456248"/>
                  <a:gd name="csY58" fmla="*/ 426406 h 426406"/>
                  <a:gd name="csX59" fmla="*/ 1138153 w 5456248"/>
                  <a:gd name="csY59" fmla="*/ 426406 h 426406"/>
                  <a:gd name="csX60" fmla="*/ 1153057 w 5456248"/>
                  <a:gd name="csY60" fmla="*/ 426406 h 426406"/>
                  <a:gd name="csX61" fmla="*/ 1217500 w 5456248"/>
                  <a:gd name="csY61" fmla="*/ 426406 h 426406"/>
                  <a:gd name="csX62" fmla="*/ 1228315 w 5456248"/>
                  <a:gd name="csY62" fmla="*/ 426406 h 426406"/>
                  <a:gd name="csX63" fmla="*/ 1307662 w 5456248"/>
                  <a:gd name="csY63" fmla="*/ 426406 h 426406"/>
                  <a:gd name="csX64" fmla="*/ 1427928 w 5456248"/>
                  <a:gd name="csY64" fmla="*/ 426406 h 426406"/>
                  <a:gd name="csX65" fmla="*/ 1518090 w 5456248"/>
                  <a:gd name="csY65" fmla="*/ 426406 h 426406"/>
                  <a:gd name="csX66" fmla="*/ 3938158 w 5456248"/>
                  <a:gd name="csY66" fmla="*/ 426406 h 426406"/>
                  <a:gd name="csX67" fmla="*/ 4028320 w 5456248"/>
                  <a:gd name="csY67" fmla="*/ 426406 h 426406"/>
                  <a:gd name="csX68" fmla="*/ 4148586 w 5456248"/>
                  <a:gd name="csY68" fmla="*/ 426406 h 426406"/>
                  <a:gd name="csX69" fmla="*/ 4227934 w 5456248"/>
                  <a:gd name="csY69" fmla="*/ 426406 h 426406"/>
                  <a:gd name="csX70" fmla="*/ 4238748 w 5456248"/>
                  <a:gd name="csY70" fmla="*/ 426406 h 426406"/>
                  <a:gd name="csX71" fmla="*/ 4303191 w 5456248"/>
                  <a:gd name="csY71" fmla="*/ 426406 h 426406"/>
                  <a:gd name="csX72" fmla="*/ 4318096 w 5456248"/>
                  <a:gd name="csY72" fmla="*/ 426406 h 426406"/>
                  <a:gd name="csX73" fmla="*/ 4393353 w 5456248"/>
                  <a:gd name="csY73" fmla="*/ 426406 h 426406"/>
                  <a:gd name="csX74" fmla="*/ 4438362 w 5456248"/>
                  <a:gd name="csY74" fmla="*/ 426406 h 426406"/>
                  <a:gd name="csX75" fmla="*/ 4513619 w 5456248"/>
                  <a:gd name="csY75" fmla="*/ 426406 h 426406"/>
                  <a:gd name="csX76" fmla="*/ 4528524 w 5456248"/>
                  <a:gd name="csY76" fmla="*/ 426406 h 426406"/>
                  <a:gd name="csX77" fmla="*/ 4592967 w 5456248"/>
                  <a:gd name="csY77" fmla="*/ 426406 h 426406"/>
                  <a:gd name="csX78" fmla="*/ 4603781 w 5456248"/>
                  <a:gd name="csY78" fmla="*/ 426406 h 426406"/>
                  <a:gd name="csX79" fmla="*/ 4683129 w 5456248"/>
                  <a:gd name="csY79" fmla="*/ 426406 h 426406"/>
                  <a:gd name="csX80" fmla="*/ 4803395 w 5456248"/>
                  <a:gd name="csY80" fmla="*/ 426406 h 426406"/>
                  <a:gd name="csX81" fmla="*/ 4893557 w 5456248"/>
                  <a:gd name="csY81" fmla="*/ 426406 h 426406"/>
                  <a:gd name="csX82" fmla="*/ 4963382 w 5456248"/>
                  <a:gd name="csY82" fmla="*/ 426406 h 426406"/>
                  <a:gd name="csX83" fmla="*/ 5053544 w 5456248"/>
                  <a:gd name="csY83" fmla="*/ 426406 h 426406"/>
                  <a:gd name="csX84" fmla="*/ 5173810 w 5456248"/>
                  <a:gd name="csY84" fmla="*/ 426406 h 426406"/>
                  <a:gd name="csX85" fmla="*/ 5263972 w 5456248"/>
                  <a:gd name="csY85" fmla="*/ 426406 h 426406"/>
                  <a:gd name="csX86" fmla="*/ 5314937 w 5456248"/>
                  <a:gd name="csY86" fmla="*/ 402974 h 426406"/>
                  <a:gd name="csX87" fmla="*/ 5440817 w 5456248"/>
                  <a:gd name="csY87" fmla="*/ 254903 h 426406"/>
                  <a:gd name="csX88" fmla="*/ 5456248 w 5456248"/>
                  <a:gd name="csY88" fmla="*/ 213136 h 426406"/>
                  <a:gd name="csX89" fmla="*/ 5456248 w 5456248"/>
                  <a:gd name="csY89" fmla="*/ 213135 h 426406"/>
                  <a:gd name="csX90" fmla="*/ 5440817 w 5456248"/>
                  <a:gd name="csY90" fmla="*/ 171425 h 426406"/>
                  <a:gd name="csX91" fmla="*/ 5314937 w 5456248"/>
                  <a:gd name="csY91" fmla="*/ 23432 h 426406"/>
                  <a:gd name="csX92" fmla="*/ 5263972 w 5456248"/>
                  <a:gd name="csY92" fmla="*/ 0 h 42640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  <a:cxn ang="0">
                    <a:pos x="csX90" y="csY90"/>
                  </a:cxn>
                  <a:cxn ang="0">
                    <a:pos x="csX91" y="csY91"/>
                  </a:cxn>
                  <a:cxn ang="0">
                    <a:pos x="csX92" y="csY92"/>
                  </a:cxn>
                </a:cxnLst>
                <a:rect l="l" t="t" r="r" b="b"/>
                <a:pathLst>
                  <a:path w="5456248" h="426406">
                    <a:moveTo>
                      <a:pt x="5263972" y="0"/>
                    </a:moveTo>
                    <a:lnTo>
                      <a:pt x="5173810" y="0"/>
                    </a:lnTo>
                    <a:lnTo>
                      <a:pt x="5053544" y="0"/>
                    </a:lnTo>
                    <a:lnTo>
                      <a:pt x="4963382" y="0"/>
                    </a:lnTo>
                    <a:lnTo>
                      <a:pt x="4893557" y="0"/>
                    </a:lnTo>
                    <a:lnTo>
                      <a:pt x="4803395" y="0"/>
                    </a:lnTo>
                    <a:lnTo>
                      <a:pt x="4683129" y="0"/>
                    </a:lnTo>
                    <a:lnTo>
                      <a:pt x="4603781" y="0"/>
                    </a:lnTo>
                    <a:lnTo>
                      <a:pt x="4592967" y="0"/>
                    </a:lnTo>
                    <a:lnTo>
                      <a:pt x="4528524" y="0"/>
                    </a:lnTo>
                    <a:lnTo>
                      <a:pt x="4513619" y="0"/>
                    </a:lnTo>
                    <a:lnTo>
                      <a:pt x="4438362" y="0"/>
                    </a:lnTo>
                    <a:lnTo>
                      <a:pt x="4393353" y="0"/>
                    </a:lnTo>
                    <a:lnTo>
                      <a:pt x="4318096" y="0"/>
                    </a:lnTo>
                    <a:lnTo>
                      <a:pt x="4303191" y="0"/>
                    </a:lnTo>
                    <a:lnTo>
                      <a:pt x="4238748" y="0"/>
                    </a:lnTo>
                    <a:lnTo>
                      <a:pt x="4227934" y="0"/>
                    </a:lnTo>
                    <a:lnTo>
                      <a:pt x="4148586" y="0"/>
                    </a:lnTo>
                    <a:lnTo>
                      <a:pt x="4028320" y="0"/>
                    </a:lnTo>
                    <a:lnTo>
                      <a:pt x="3938158" y="0"/>
                    </a:lnTo>
                    <a:lnTo>
                      <a:pt x="1518090" y="0"/>
                    </a:lnTo>
                    <a:lnTo>
                      <a:pt x="1427928" y="0"/>
                    </a:lnTo>
                    <a:lnTo>
                      <a:pt x="1307662" y="0"/>
                    </a:lnTo>
                    <a:lnTo>
                      <a:pt x="1228315" y="0"/>
                    </a:lnTo>
                    <a:lnTo>
                      <a:pt x="1217500" y="0"/>
                    </a:lnTo>
                    <a:lnTo>
                      <a:pt x="1153057" y="0"/>
                    </a:lnTo>
                    <a:lnTo>
                      <a:pt x="1138153" y="0"/>
                    </a:lnTo>
                    <a:lnTo>
                      <a:pt x="1062895" y="0"/>
                    </a:lnTo>
                    <a:lnTo>
                      <a:pt x="1017887" y="0"/>
                    </a:lnTo>
                    <a:lnTo>
                      <a:pt x="942629" y="0"/>
                    </a:lnTo>
                    <a:lnTo>
                      <a:pt x="927725" y="0"/>
                    </a:lnTo>
                    <a:lnTo>
                      <a:pt x="863282" y="0"/>
                    </a:lnTo>
                    <a:lnTo>
                      <a:pt x="852467" y="0"/>
                    </a:lnTo>
                    <a:lnTo>
                      <a:pt x="773120" y="0"/>
                    </a:lnTo>
                    <a:lnTo>
                      <a:pt x="652854" y="0"/>
                    </a:lnTo>
                    <a:lnTo>
                      <a:pt x="562692" y="0"/>
                    </a:lnTo>
                    <a:lnTo>
                      <a:pt x="492866" y="0"/>
                    </a:lnTo>
                    <a:lnTo>
                      <a:pt x="402704" y="0"/>
                    </a:lnTo>
                    <a:lnTo>
                      <a:pt x="282438" y="0"/>
                    </a:lnTo>
                    <a:lnTo>
                      <a:pt x="192276" y="0"/>
                    </a:lnTo>
                    <a:cubicBezTo>
                      <a:pt x="172644" y="0"/>
                      <a:pt x="153954" y="8556"/>
                      <a:pt x="141311" y="23432"/>
                    </a:cubicBezTo>
                    <a:lnTo>
                      <a:pt x="15431" y="171425"/>
                    </a:lnTo>
                    <a:lnTo>
                      <a:pt x="0" y="213135"/>
                    </a:lnTo>
                    <a:lnTo>
                      <a:pt x="0" y="213136"/>
                    </a:lnTo>
                    <a:lnTo>
                      <a:pt x="15431" y="254903"/>
                    </a:lnTo>
                    <a:lnTo>
                      <a:pt x="141311" y="402974"/>
                    </a:lnTo>
                    <a:cubicBezTo>
                      <a:pt x="153954" y="417851"/>
                      <a:pt x="172566" y="426406"/>
                      <a:pt x="192276" y="426406"/>
                    </a:cubicBezTo>
                    <a:lnTo>
                      <a:pt x="282438" y="426406"/>
                    </a:lnTo>
                    <a:lnTo>
                      <a:pt x="402704" y="426406"/>
                    </a:lnTo>
                    <a:lnTo>
                      <a:pt x="492866" y="426406"/>
                    </a:lnTo>
                    <a:lnTo>
                      <a:pt x="562692" y="426406"/>
                    </a:lnTo>
                    <a:lnTo>
                      <a:pt x="652854" y="426406"/>
                    </a:lnTo>
                    <a:lnTo>
                      <a:pt x="773120" y="426406"/>
                    </a:lnTo>
                    <a:lnTo>
                      <a:pt x="852467" y="426406"/>
                    </a:lnTo>
                    <a:lnTo>
                      <a:pt x="863282" y="426406"/>
                    </a:lnTo>
                    <a:lnTo>
                      <a:pt x="927725" y="426406"/>
                    </a:lnTo>
                    <a:lnTo>
                      <a:pt x="942629" y="426406"/>
                    </a:lnTo>
                    <a:lnTo>
                      <a:pt x="1017887" y="426406"/>
                    </a:lnTo>
                    <a:lnTo>
                      <a:pt x="1062895" y="426406"/>
                    </a:lnTo>
                    <a:lnTo>
                      <a:pt x="1138153" y="426406"/>
                    </a:lnTo>
                    <a:lnTo>
                      <a:pt x="1153057" y="426406"/>
                    </a:lnTo>
                    <a:lnTo>
                      <a:pt x="1217500" y="426406"/>
                    </a:lnTo>
                    <a:lnTo>
                      <a:pt x="1228315" y="426406"/>
                    </a:lnTo>
                    <a:lnTo>
                      <a:pt x="1307662" y="426406"/>
                    </a:lnTo>
                    <a:lnTo>
                      <a:pt x="1427928" y="426406"/>
                    </a:lnTo>
                    <a:lnTo>
                      <a:pt x="1518090" y="426406"/>
                    </a:lnTo>
                    <a:lnTo>
                      <a:pt x="3938158" y="426406"/>
                    </a:lnTo>
                    <a:lnTo>
                      <a:pt x="4028320" y="426406"/>
                    </a:lnTo>
                    <a:lnTo>
                      <a:pt x="4148586" y="426406"/>
                    </a:lnTo>
                    <a:lnTo>
                      <a:pt x="4227934" y="426406"/>
                    </a:lnTo>
                    <a:lnTo>
                      <a:pt x="4238748" y="426406"/>
                    </a:lnTo>
                    <a:lnTo>
                      <a:pt x="4303191" y="426406"/>
                    </a:lnTo>
                    <a:lnTo>
                      <a:pt x="4318096" y="426406"/>
                    </a:lnTo>
                    <a:lnTo>
                      <a:pt x="4393353" y="426406"/>
                    </a:lnTo>
                    <a:lnTo>
                      <a:pt x="4438362" y="426406"/>
                    </a:lnTo>
                    <a:lnTo>
                      <a:pt x="4513619" y="426406"/>
                    </a:lnTo>
                    <a:lnTo>
                      <a:pt x="4528524" y="426406"/>
                    </a:lnTo>
                    <a:lnTo>
                      <a:pt x="4592967" y="426406"/>
                    </a:lnTo>
                    <a:lnTo>
                      <a:pt x="4603781" y="426406"/>
                    </a:lnTo>
                    <a:lnTo>
                      <a:pt x="4683129" y="426406"/>
                    </a:lnTo>
                    <a:lnTo>
                      <a:pt x="4803395" y="426406"/>
                    </a:lnTo>
                    <a:lnTo>
                      <a:pt x="4893557" y="426406"/>
                    </a:lnTo>
                    <a:lnTo>
                      <a:pt x="4963382" y="426406"/>
                    </a:lnTo>
                    <a:lnTo>
                      <a:pt x="5053544" y="426406"/>
                    </a:lnTo>
                    <a:lnTo>
                      <a:pt x="5173810" y="426406"/>
                    </a:lnTo>
                    <a:lnTo>
                      <a:pt x="5263972" y="426406"/>
                    </a:lnTo>
                    <a:cubicBezTo>
                      <a:pt x="5283682" y="426406"/>
                      <a:pt x="5302294" y="417851"/>
                      <a:pt x="5314937" y="402974"/>
                    </a:cubicBezTo>
                    <a:lnTo>
                      <a:pt x="5440817" y="254903"/>
                    </a:lnTo>
                    <a:lnTo>
                      <a:pt x="5456248" y="213136"/>
                    </a:lnTo>
                    <a:lnTo>
                      <a:pt x="5456248" y="213135"/>
                    </a:lnTo>
                    <a:lnTo>
                      <a:pt x="5440817" y="171425"/>
                    </a:lnTo>
                    <a:lnTo>
                      <a:pt x="5314937" y="23432"/>
                    </a:lnTo>
                    <a:cubicBezTo>
                      <a:pt x="5302294" y="8556"/>
                      <a:pt x="5283604" y="0"/>
                      <a:pt x="5263972" y="0"/>
                    </a:cubicBezTo>
                    <a:close/>
                  </a:path>
                </a:pathLst>
              </a:custGeom>
              <a:solidFill>
                <a:srgbClr val="EFF7FE"/>
              </a:solidFill>
              <a:ln>
                <a:noFill/>
              </a:ln>
              <a:effectLst/>
            </p:spPr>
            <p:style>
              <a:lnRef idx="2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/>
                <a:endPara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endParaRPr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2470389" y="1191600"/>
                <a:ext cx="2711211" cy="337185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>
                <a:defPPr>
                  <a:defRPr lang="zh-CN"/>
                </a:defPPr>
                <a:lvl1pPr marL="71755" indent="0">
                  <a:lnSpc>
                    <a:spcPct val="100000"/>
                  </a:lnSpc>
                  <a:buNone/>
                  <a:defRPr sz="2400" b="1">
                    <a:gradFill>
                      <a:gsLst>
                        <a:gs pos="5000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</a:defRPr>
                </a:lvl1pPr>
              </a:lstStyle>
              <a:p>
                <a:r>
                  <a:rPr lang="zh-CN" altLang="en-US" sz="1600"/>
                  <a:t>可同步改善鼻眼联动过敏</a:t>
                </a:r>
                <a:endParaRPr lang="zh-CN" altLang="en-US" sz="1600"/>
              </a:p>
            </p:txBody>
          </p:sp>
        </p:grpSp>
        <p:sp>
          <p:nvSpPr>
            <p:cNvPr id="46" name="任意多边形: 形状 45"/>
            <p:cNvSpPr/>
            <p:nvPr/>
          </p:nvSpPr>
          <p:spPr>
            <a:xfrm flipH="1">
              <a:off x="6361101" y="3505847"/>
              <a:ext cx="2028436" cy="426406"/>
            </a:xfrm>
            <a:custGeom>
              <a:avLst/>
              <a:gdLst>
                <a:gd name="csX0" fmla="*/ 1836160 w 2028436"/>
                <a:gd name="csY0" fmla="*/ 0 h 426406"/>
                <a:gd name="csX1" fmla="*/ 1745998 w 2028436"/>
                <a:gd name="csY1" fmla="*/ 0 h 426406"/>
                <a:gd name="csX2" fmla="*/ 1625732 w 2028436"/>
                <a:gd name="csY2" fmla="*/ 0 h 426406"/>
                <a:gd name="csX3" fmla="*/ 1535570 w 2028436"/>
                <a:gd name="csY3" fmla="*/ 0 h 426406"/>
                <a:gd name="csX4" fmla="*/ 1518090 w 2028436"/>
                <a:gd name="csY4" fmla="*/ 0 h 426406"/>
                <a:gd name="csX5" fmla="*/ 1465745 w 2028436"/>
                <a:gd name="csY5" fmla="*/ 0 h 426406"/>
                <a:gd name="csX6" fmla="*/ 1427928 w 2028436"/>
                <a:gd name="csY6" fmla="*/ 0 h 426406"/>
                <a:gd name="csX7" fmla="*/ 1375583 w 2028436"/>
                <a:gd name="csY7" fmla="*/ 0 h 426406"/>
                <a:gd name="csX8" fmla="*/ 1307662 w 2028436"/>
                <a:gd name="csY8" fmla="*/ 0 h 426406"/>
                <a:gd name="csX9" fmla="*/ 1255317 w 2028436"/>
                <a:gd name="csY9" fmla="*/ 0 h 426406"/>
                <a:gd name="csX10" fmla="*/ 1228315 w 2028436"/>
                <a:gd name="csY10" fmla="*/ 0 h 426406"/>
                <a:gd name="csX11" fmla="*/ 1217500 w 2028436"/>
                <a:gd name="csY11" fmla="*/ 0 h 426406"/>
                <a:gd name="csX12" fmla="*/ 1175969 w 2028436"/>
                <a:gd name="csY12" fmla="*/ 0 h 426406"/>
                <a:gd name="csX13" fmla="*/ 1165155 w 2028436"/>
                <a:gd name="csY13" fmla="*/ 0 h 426406"/>
                <a:gd name="csX14" fmla="*/ 1153057 w 2028436"/>
                <a:gd name="csY14" fmla="*/ 0 h 426406"/>
                <a:gd name="csX15" fmla="*/ 1138153 w 2028436"/>
                <a:gd name="csY15" fmla="*/ 0 h 426406"/>
                <a:gd name="csX16" fmla="*/ 1100712 w 2028436"/>
                <a:gd name="csY16" fmla="*/ 0 h 426406"/>
                <a:gd name="csX17" fmla="*/ 1085807 w 2028436"/>
                <a:gd name="csY17" fmla="*/ 0 h 426406"/>
                <a:gd name="csX18" fmla="*/ 1062895 w 2028436"/>
                <a:gd name="csY18" fmla="*/ 0 h 426406"/>
                <a:gd name="csX19" fmla="*/ 1017887 w 2028436"/>
                <a:gd name="csY19" fmla="*/ 0 h 426406"/>
                <a:gd name="csX20" fmla="*/ 1010550 w 2028436"/>
                <a:gd name="csY20" fmla="*/ 0 h 426406"/>
                <a:gd name="csX21" fmla="*/ 965541 w 2028436"/>
                <a:gd name="csY21" fmla="*/ 0 h 426406"/>
                <a:gd name="csX22" fmla="*/ 942629 w 2028436"/>
                <a:gd name="csY22" fmla="*/ 0 h 426406"/>
                <a:gd name="csX23" fmla="*/ 927725 w 2028436"/>
                <a:gd name="csY23" fmla="*/ 0 h 426406"/>
                <a:gd name="csX24" fmla="*/ 890284 w 2028436"/>
                <a:gd name="csY24" fmla="*/ 0 h 426406"/>
                <a:gd name="csX25" fmla="*/ 875379 w 2028436"/>
                <a:gd name="csY25" fmla="*/ 0 h 426406"/>
                <a:gd name="csX26" fmla="*/ 863282 w 2028436"/>
                <a:gd name="csY26" fmla="*/ 0 h 426406"/>
                <a:gd name="csX27" fmla="*/ 852467 w 2028436"/>
                <a:gd name="csY27" fmla="*/ 0 h 426406"/>
                <a:gd name="csX28" fmla="*/ 810936 w 2028436"/>
                <a:gd name="csY28" fmla="*/ 0 h 426406"/>
                <a:gd name="csX29" fmla="*/ 800122 w 2028436"/>
                <a:gd name="csY29" fmla="*/ 0 h 426406"/>
                <a:gd name="csX30" fmla="*/ 773120 w 2028436"/>
                <a:gd name="csY30" fmla="*/ 0 h 426406"/>
                <a:gd name="csX31" fmla="*/ 720774 w 2028436"/>
                <a:gd name="csY31" fmla="*/ 0 h 426406"/>
                <a:gd name="csX32" fmla="*/ 652854 w 2028436"/>
                <a:gd name="csY32" fmla="*/ 0 h 426406"/>
                <a:gd name="csX33" fmla="*/ 600508 w 2028436"/>
                <a:gd name="csY33" fmla="*/ 0 h 426406"/>
                <a:gd name="csX34" fmla="*/ 562692 w 2028436"/>
                <a:gd name="csY34" fmla="*/ 0 h 426406"/>
                <a:gd name="csX35" fmla="*/ 510346 w 2028436"/>
                <a:gd name="csY35" fmla="*/ 0 h 426406"/>
                <a:gd name="csX36" fmla="*/ 492866 w 2028436"/>
                <a:gd name="csY36" fmla="*/ 0 h 426406"/>
                <a:gd name="csX37" fmla="*/ 402704 w 2028436"/>
                <a:gd name="csY37" fmla="*/ 0 h 426406"/>
                <a:gd name="csX38" fmla="*/ 282438 w 2028436"/>
                <a:gd name="csY38" fmla="*/ 0 h 426406"/>
                <a:gd name="csX39" fmla="*/ 192276 w 2028436"/>
                <a:gd name="csY39" fmla="*/ 0 h 426406"/>
                <a:gd name="csX40" fmla="*/ 141311 w 2028436"/>
                <a:gd name="csY40" fmla="*/ 23432 h 426406"/>
                <a:gd name="csX41" fmla="*/ 15431 w 2028436"/>
                <a:gd name="csY41" fmla="*/ 171425 h 426406"/>
                <a:gd name="csX42" fmla="*/ 0 w 2028436"/>
                <a:gd name="csY42" fmla="*/ 213135 h 426406"/>
                <a:gd name="csX43" fmla="*/ 0 w 2028436"/>
                <a:gd name="csY43" fmla="*/ 213136 h 426406"/>
                <a:gd name="csX44" fmla="*/ 15431 w 2028436"/>
                <a:gd name="csY44" fmla="*/ 254903 h 426406"/>
                <a:gd name="csX45" fmla="*/ 141311 w 2028436"/>
                <a:gd name="csY45" fmla="*/ 402974 h 426406"/>
                <a:gd name="csX46" fmla="*/ 192276 w 2028436"/>
                <a:gd name="csY46" fmla="*/ 426406 h 426406"/>
                <a:gd name="csX47" fmla="*/ 282438 w 2028436"/>
                <a:gd name="csY47" fmla="*/ 426406 h 426406"/>
                <a:gd name="csX48" fmla="*/ 402704 w 2028436"/>
                <a:gd name="csY48" fmla="*/ 426406 h 426406"/>
                <a:gd name="csX49" fmla="*/ 492866 w 2028436"/>
                <a:gd name="csY49" fmla="*/ 426406 h 426406"/>
                <a:gd name="csX50" fmla="*/ 510346 w 2028436"/>
                <a:gd name="csY50" fmla="*/ 426406 h 426406"/>
                <a:gd name="csX51" fmla="*/ 562692 w 2028436"/>
                <a:gd name="csY51" fmla="*/ 426406 h 426406"/>
                <a:gd name="csX52" fmla="*/ 600508 w 2028436"/>
                <a:gd name="csY52" fmla="*/ 426406 h 426406"/>
                <a:gd name="csX53" fmla="*/ 652854 w 2028436"/>
                <a:gd name="csY53" fmla="*/ 426406 h 426406"/>
                <a:gd name="csX54" fmla="*/ 720774 w 2028436"/>
                <a:gd name="csY54" fmla="*/ 426406 h 426406"/>
                <a:gd name="csX55" fmla="*/ 773120 w 2028436"/>
                <a:gd name="csY55" fmla="*/ 426406 h 426406"/>
                <a:gd name="csX56" fmla="*/ 800122 w 2028436"/>
                <a:gd name="csY56" fmla="*/ 426406 h 426406"/>
                <a:gd name="csX57" fmla="*/ 810936 w 2028436"/>
                <a:gd name="csY57" fmla="*/ 426406 h 426406"/>
                <a:gd name="csX58" fmla="*/ 852467 w 2028436"/>
                <a:gd name="csY58" fmla="*/ 426406 h 426406"/>
                <a:gd name="csX59" fmla="*/ 863282 w 2028436"/>
                <a:gd name="csY59" fmla="*/ 426406 h 426406"/>
                <a:gd name="csX60" fmla="*/ 875379 w 2028436"/>
                <a:gd name="csY60" fmla="*/ 426406 h 426406"/>
                <a:gd name="csX61" fmla="*/ 890284 w 2028436"/>
                <a:gd name="csY61" fmla="*/ 426406 h 426406"/>
                <a:gd name="csX62" fmla="*/ 927725 w 2028436"/>
                <a:gd name="csY62" fmla="*/ 426406 h 426406"/>
                <a:gd name="csX63" fmla="*/ 942629 w 2028436"/>
                <a:gd name="csY63" fmla="*/ 426406 h 426406"/>
                <a:gd name="csX64" fmla="*/ 965541 w 2028436"/>
                <a:gd name="csY64" fmla="*/ 426406 h 426406"/>
                <a:gd name="csX65" fmla="*/ 1010550 w 2028436"/>
                <a:gd name="csY65" fmla="*/ 426406 h 426406"/>
                <a:gd name="csX66" fmla="*/ 1017887 w 2028436"/>
                <a:gd name="csY66" fmla="*/ 426406 h 426406"/>
                <a:gd name="csX67" fmla="*/ 1062895 w 2028436"/>
                <a:gd name="csY67" fmla="*/ 426406 h 426406"/>
                <a:gd name="csX68" fmla="*/ 1085807 w 2028436"/>
                <a:gd name="csY68" fmla="*/ 426406 h 426406"/>
                <a:gd name="csX69" fmla="*/ 1100712 w 2028436"/>
                <a:gd name="csY69" fmla="*/ 426406 h 426406"/>
                <a:gd name="csX70" fmla="*/ 1138153 w 2028436"/>
                <a:gd name="csY70" fmla="*/ 426406 h 426406"/>
                <a:gd name="csX71" fmla="*/ 1153057 w 2028436"/>
                <a:gd name="csY71" fmla="*/ 426406 h 426406"/>
                <a:gd name="csX72" fmla="*/ 1165155 w 2028436"/>
                <a:gd name="csY72" fmla="*/ 426406 h 426406"/>
                <a:gd name="csX73" fmla="*/ 1175969 w 2028436"/>
                <a:gd name="csY73" fmla="*/ 426406 h 426406"/>
                <a:gd name="csX74" fmla="*/ 1217500 w 2028436"/>
                <a:gd name="csY74" fmla="*/ 426406 h 426406"/>
                <a:gd name="csX75" fmla="*/ 1228315 w 2028436"/>
                <a:gd name="csY75" fmla="*/ 426406 h 426406"/>
                <a:gd name="csX76" fmla="*/ 1255317 w 2028436"/>
                <a:gd name="csY76" fmla="*/ 426406 h 426406"/>
                <a:gd name="csX77" fmla="*/ 1307662 w 2028436"/>
                <a:gd name="csY77" fmla="*/ 426406 h 426406"/>
                <a:gd name="csX78" fmla="*/ 1375583 w 2028436"/>
                <a:gd name="csY78" fmla="*/ 426406 h 426406"/>
                <a:gd name="csX79" fmla="*/ 1427928 w 2028436"/>
                <a:gd name="csY79" fmla="*/ 426406 h 426406"/>
                <a:gd name="csX80" fmla="*/ 1465745 w 2028436"/>
                <a:gd name="csY80" fmla="*/ 426406 h 426406"/>
                <a:gd name="csX81" fmla="*/ 1518090 w 2028436"/>
                <a:gd name="csY81" fmla="*/ 426406 h 426406"/>
                <a:gd name="csX82" fmla="*/ 1535570 w 2028436"/>
                <a:gd name="csY82" fmla="*/ 426406 h 426406"/>
                <a:gd name="csX83" fmla="*/ 1625732 w 2028436"/>
                <a:gd name="csY83" fmla="*/ 426406 h 426406"/>
                <a:gd name="csX84" fmla="*/ 1745998 w 2028436"/>
                <a:gd name="csY84" fmla="*/ 426406 h 426406"/>
                <a:gd name="csX85" fmla="*/ 1836160 w 2028436"/>
                <a:gd name="csY85" fmla="*/ 426406 h 426406"/>
                <a:gd name="csX86" fmla="*/ 1887125 w 2028436"/>
                <a:gd name="csY86" fmla="*/ 402974 h 426406"/>
                <a:gd name="csX87" fmla="*/ 2013005 w 2028436"/>
                <a:gd name="csY87" fmla="*/ 254903 h 426406"/>
                <a:gd name="csX88" fmla="*/ 2028436 w 2028436"/>
                <a:gd name="csY88" fmla="*/ 213136 h 426406"/>
                <a:gd name="csX89" fmla="*/ 2028436 w 2028436"/>
                <a:gd name="csY89" fmla="*/ 213135 h 426406"/>
                <a:gd name="csX90" fmla="*/ 2013005 w 2028436"/>
                <a:gd name="csY90" fmla="*/ 171425 h 426406"/>
                <a:gd name="csX91" fmla="*/ 1887125 w 2028436"/>
                <a:gd name="csY91" fmla="*/ 23432 h 426406"/>
                <a:gd name="csX92" fmla="*/ 1836160 w 2028436"/>
                <a:gd name="csY92" fmla="*/ 0 h 42640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</a:cxnLst>
              <a:rect l="l" t="t" r="r" b="b"/>
              <a:pathLst>
                <a:path w="2028436" h="426406">
                  <a:moveTo>
                    <a:pt x="1836160" y="0"/>
                  </a:moveTo>
                  <a:lnTo>
                    <a:pt x="1745998" y="0"/>
                  </a:lnTo>
                  <a:lnTo>
                    <a:pt x="1625732" y="0"/>
                  </a:lnTo>
                  <a:lnTo>
                    <a:pt x="1535570" y="0"/>
                  </a:lnTo>
                  <a:lnTo>
                    <a:pt x="1518090" y="0"/>
                  </a:lnTo>
                  <a:lnTo>
                    <a:pt x="1465745" y="0"/>
                  </a:lnTo>
                  <a:lnTo>
                    <a:pt x="1427928" y="0"/>
                  </a:lnTo>
                  <a:lnTo>
                    <a:pt x="1375583" y="0"/>
                  </a:lnTo>
                  <a:lnTo>
                    <a:pt x="1307662" y="0"/>
                  </a:lnTo>
                  <a:lnTo>
                    <a:pt x="1255317" y="0"/>
                  </a:lnTo>
                  <a:lnTo>
                    <a:pt x="1228315" y="0"/>
                  </a:lnTo>
                  <a:lnTo>
                    <a:pt x="1217500" y="0"/>
                  </a:lnTo>
                  <a:lnTo>
                    <a:pt x="1175969" y="0"/>
                  </a:lnTo>
                  <a:lnTo>
                    <a:pt x="1165155" y="0"/>
                  </a:lnTo>
                  <a:lnTo>
                    <a:pt x="1153057" y="0"/>
                  </a:lnTo>
                  <a:lnTo>
                    <a:pt x="1138153" y="0"/>
                  </a:lnTo>
                  <a:lnTo>
                    <a:pt x="1100712" y="0"/>
                  </a:lnTo>
                  <a:lnTo>
                    <a:pt x="1085807" y="0"/>
                  </a:lnTo>
                  <a:lnTo>
                    <a:pt x="1062895" y="0"/>
                  </a:lnTo>
                  <a:lnTo>
                    <a:pt x="1017887" y="0"/>
                  </a:lnTo>
                  <a:lnTo>
                    <a:pt x="1010550" y="0"/>
                  </a:lnTo>
                  <a:lnTo>
                    <a:pt x="965541" y="0"/>
                  </a:lnTo>
                  <a:lnTo>
                    <a:pt x="942629" y="0"/>
                  </a:lnTo>
                  <a:lnTo>
                    <a:pt x="927725" y="0"/>
                  </a:lnTo>
                  <a:lnTo>
                    <a:pt x="890284" y="0"/>
                  </a:lnTo>
                  <a:lnTo>
                    <a:pt x="875379" y="0"/>
                  </a:lnTo>
                  <a:lnTo>
                    <a:pt x="863282" y="0"/>
                  </a:lnTo>
                  <a:lnTo>
                    <a:pt x="852467" y="0"/>
                  </a:lnTo>
                  <a:lnTo>
                    <a:pt x="810936" y="0"/>
                  </a:lnTo>
                  <a:lnTo>
                    <a:pt x="800122" y="0"/>
                  </a:lnTo>
                  <a:lnTo>
                    <a:pt x="773120" y="0"/>
                  </a:lnTo>
                  <a:lnTo>
                    <a:pt x="720774" y="0"/>
                  </a:lnTo>
                  <a:lnTo>
                    <a:pt x="652854" y="0"/>
                  </a:lnTo>
                  <a:lnTo>
                    <a:pt x="600508" y="0"/>
                  </a:lnTo>
                  <a:lnTo>
                    <a:pt x="562692" y="0"/>
                  </a:lnTo>
                  <a:lnTo>
                    <a:pt x="510346" y="0"/>
                  </a:lnTo>
                  <a:lnTo>
                    <a:pt x="492866" y="0"/>
                  </a:lnTo>
                  <a:lnTo>
                    <a:pt x="402704" y="0"/>
                  </a:lnTo>
                  <a:lnTo>
                    <a:pt x="282438" y="0"/>
                  </a:lnTo>
                  <a:lnTo>
                    <a:pt x="192276" y="0"/>
                  </a:lnTo>
                  <a:cubicBezTo>
                    <a:pt x="172644" y="0"/>
                    <a:pt x="153954" y="8556"/>
                    <a:pt x="141311" y="23432"/>
                  </a:cubicBezTo>
                  <a:lnTo>
                    <a:pt x="15431" y="171425"/>
                  </a:lnTo>
                  <a:lnTo>
                    <a:pt x="0" y="213135"/>
                  </a:lnTo>
                  <a:lnTo>
                    <a:pt x="0" y="213136"/>
                  </a:lnTo>
                  <a:lnTo>
                    <a:pt x="15431" y="254903"/>
                  </a:lnTo>
                  <a:lnTo>
                    <a:pt x="141311" y="402974"/>
                  </a:lnTo>
                  <a:cubicBezTo>
                    <a:pt x="153954" y="417851"/>
                    <a:pt x="172566" y="426406"/>
                    <a:pt x="192276" y="426406"/>
                  </a:cubicBezTo>
                  <a:lnTo>
                    <a:pt x="282438" y="426406"/>
                  </a:lnTo>
                  <a:lnTo>
                    <a:pt x="402704" y="426406"/>
                  </a:lnTo>
                  <a:lnTo>
                    <a:pt x="492866" y="426406"/>
                  </a:lnTo>
                  <a:lnTo>
                    <a:pt x="510346" y="426406"/>
                  </a:lnTo>
                  <a:lnTo>
                    <a:pt x="562692" y="426406"/>
                  </a:lnTo>
                  <a:lnTo>
                    <a:pt x="600508" y="426406"/>
                  </a:lnTo>
                  <a:lnTo>
                    <a:pt x="652854" y="426406"/>
                  </a:lnTo>
                  <a:lnTo>
                    <a:pt x="720774" y="426406"/>
                  </a:lnTo>
                  <a:lnTo>
                    <a:pt x="773120" y="426406"/>
                  </a:lnTo>
                  <a:lnTo>
                    <a:pt x="800122" y="426406"/>
                  </a:lnTo>
                  <a:lnTo>
                    <a:pt x="810936" y="426406"/>
                  </a:lnTo>
                  <a:lnTo>
                    <a:pt x="852467" y="426406"/>
                  </a:lnTo>
                  <a:lnTo>
                    <a:pt x="863282" y="426406"/>
                  </a:lnTo>
                  <a:lnTo>
                    <a:pt x="875379" y="426406"/>
                  </a:lnTo>
                  <a:lnTo>
                    <a:pt x="890284" y="426406"/>
                  </a:lnTo>
                  <a:lnTo>
                    <a:pt x="927725" y="426406"/>
                  </a:lnTo>
                  <a:lnTo>
                    <a:pt x="942629" y="426406"/>
                  </a:lnTo>
                  <a:lnTo>
                    <a:pt x="965541" y="426406"/>
                  </a:lnTo>
                  <a:lnTo>
                    <a:pt x="1010550" y="426406"/>
                  </a:lnTo>
                  <a:lnTo>
                    <a:pt x="1017887" y="426406"/>
                  </a:lnTo>
                  <a:lnTo>
                    <a:pt x="1062895" y="426406"/>
                  </a:lnTo>
                  <a:lnTo>
                    <a:pt x="1085807" y="426406"/>
                  </a:lnTo>
                  <a:lnTo>
                    <a:pt x="1100712" y="426406"/>
                  </a:lnTo>
                  <a:lnTo>
                    <a:pt x="1138153" y="426406"/>
                  </a:lnTo>
                  <a:lnTo>
                    <a:pt x="1153057" y="426406"/>
                  </a:lnTo>
                  <a:lnTo>
                    <a:pt x="1165155" y="426406"/>
                  </a:lnTo>
                  <a:lnTo>
                    <a:pt x="1175969" y="426406"/>
                  </a:lnTo>
                  <a:lnTo>
                    <a:pt x="1217500" y="426406"/>
                  </a:lnTo>
                  <a:lnTo>
                    <a:pt x="1228315" y="426406"/>
                  </a:lnTo>
                  <a:lnTo>
                    <a:pt x="1255317" y="426406"/>
                  </a:lnTo>
                  <a:lnTo>
                    <a:pt x="1307662" y="426406"/>
                  </a:lnTo>
                  <a:lnTo>
                    <a:pt x="1375583" y="426406"/>
                  </a:lnTo>
                  <a:lnTo>
                    <a:pt x="1427928" y="426406"/>
                  </a:lnTo>
                  <a:lnTo>
                    <a:pt x="1465745" y="426406"/>
                  </a:lnTo>
                  <a:lnTo>
                    <a:pt x="1518090" y="426406"/>
                  </a:lnTo>
                  <a:lnTo>
                    <a:pt x="1535570" y="426406"/>
                  </a:lnTo>
                  <a:lnTo>
                    <a:pt x="1625732" y="426406"/>
                  </a:lnTo>
                  <a:lnTo>
                    <a:pt x="1745998" y="426406"/>
                  </a:lnTo>
                  <a:lnTo>
                    <a:pt x="1836160" y="426406"/>
                  </a:lnTo>
                  <a:cubicBezTo>
                    <a:pt x="1855870" y="426406"/>
                    <a:pt x="1874482" y="417851"/>
                    <a:pt x="1887125" y="402974"/>
                  </a:cubicBezTo>
                  <a:lnTo>
                    <a:pt x="2013005" y="254903"/>
                  </a:lnTo>
                  <a:lnTo>
                    <a:pt x="2028436" y="213136"/>
                  </a:lnTo>
                  <a:lnTo>
                    <a:pt x="2028436" y="213135"/>
                  </a:lnTo>
                  <a:lnTo>
                    <a:pt x="2013005" y="171425"/>
                  </a:lnTo>
                  <a:lnTo>
                    <a:pt x="1887125" y="23432"/>
                  </a:lnTo>
                  <a:cubicBezTo>
                    <a:pt x="1874482" y="8556"/>
                    <a:pt x="1855792" y="0"/>
                    <a:pt x="1836160" y="0"/>
                  </a:cubicBezTo>
                  <a:close/>
                </a:path>
              </a:pathLst>
            </a:custGeom>
          </p:spPr>
          <p:style>
            <a:lnRef idx="2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360045" algn="ctr"/>
              <a:r>
                <a:rPr lang="zh-CN" altLang="en-US" sz="1600" b="1">
                  <a:gradFill>
                    <a:gsLst>
                      <a:gs pos="50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  <a:latin typeface="+mn-ea"/>
                </a:rPr>
                <a:t>临床应用创新</a:t>
              </a:r>
              <a:endParaRPr lang="zh-CN" altLang="en-US" sz="1600" b="1">
                <a:gradFill>
                  <a:gsLst>
                    <a:gs pos="50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+mn-ea"/>
              </a:endParaRPr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94151" y="3582534"/>
              <a:ext cx="264413" cy="264309"/>
              <a:chOff x="6594151" y="4193814"/>
              <a:chExt cx="264413" cy="264309"/>
            </a:xfrm>
            <a:solidFill>
              <a:schemeClr val="bg1"/>
            </a:solidFill>
          </p:grpSpPr>
          <p:sp>
            <p:nvSpPr>
              <p:cNvPr id="59" name="任意多边形: 形状 58"/>
              <p:cNvSpPr/>
              <p:nvPr/>
            </p:nvSpPr>
            <p:spPr>
              <a:xfrm>
                <a:off x="6594151" y="4255438"/>
                <a:ext cx="264373" cy="202685"/>
              </a:xfrm>
              <a:custGeom>
                <a:avLst/>
                <a:gdLst>
                  <a:gd name="csX0" fmla="*/ 259967 w 264373"/>
                  <a:gd name="csY0" fmla="*/ 167436 h 202685"/>
                  <a:gd name="csX1" fmla="*/ 251154 w 264373"/>
                  <a:gd name="csY1" fmla="*/ 167436 h 202685"/>
                  <a:gd name="csX2" fmla="*/ 251154 w 264373"/>
                  <a:gd name="csY2" fmla="*/ 158624 h 202685"/>
                  <a:gd name="csX3" fmla="*/ 242342 w 264373"/>
                  <a:gd name="csY3" fmla="*/ 158624 h 202685"/>
                  <a:gd name="csX4" fmla="*/ 242342 w 264373"/>
                  <a:gd name="csY4" fmla="*/ 167436 h 202685"/>
                  <a:gd name="csX5" fmla="*/ 233529 w 264373"/>
                  <a:gd name="csY5" fmla="*/ 167436 h 202685"/>
                  <a:gd name="csX6" fmla="*/ 233529 w 264373"/>
                  <a:gd name="csY6" fmla="*/ 158624 h 202685"/>
                  <a:gd name="csX7" fmla="*/ 224717 w 264373"/>
                  <a:gd name="csY7" fmla="*/ 158624 h 202685"/>
                  <a:gd name="csX8" fmla="*/ 224717 w 264373"/>
                  <a:gd name="csY8" fmla="*/ 167436 h 202685"/>
                  <a:gd name="csX9" fmla="*/ 159144 w 264373"/>
                  <a:gd name="csY9" fmla="*/ 167436 h 202685"/>
                  <a:gd name="csX10" fmla="*/ 148049 w 264373"/>
                  <a:gd name="csY10" fmla="*/ 174280 h 202685"/>
                  <a:gd name="csX11" fmla="*/ 144863 w 264373"/>
                  <a:gd name="csY11" fmla="*/ 176249 h 202685"/>
                  <a:gd name="csX12" fmla="*/ 119489 w 264373"/>
                  <a:gd name="csY12" fmla="*/ 176249 h 202685"/>
                  <a:gd name="csX13" fmla="*/ 116302 w 264373"/>
                  <a:gd name="csY13" fmla="*/ 174280 h 202685"/>
                  <a:gd name="csX14" fmla="*/ 105229 w 264373"/>
                  <a:gd name="csY14" fmla="*/ 167436 h 202685"/>
                  <a:gd name="csX15" fmla="*/ 39656 w 264373"/>
                  <a:gd name="csY15" fmla="*/ 167436 h 202685"/>
                  <a:gd name="csX16" fmla="*/ 39656 w 264373"/>
                  <a:gd name="csY16" fmla="*/ 88124 h 202685"/>
                  <a:gd name="csX17" fmla="*/ 30844 w 264373"/>
                  <a:gd name="csY17" fmla="*/ 88124 h 202685"/>
                  <a:gd name="csX18" fmla="*/ 30844 w 264373"/>
                  <a:gd name="csY18" fmla="*/ 167436 h 202685"/>
                  <a:gd name="csX19" fmla="*/ 22031 w 264373"/>
                  <a:gd name="csY19" fmla="*/ 167436 h 202685"/>
                  <a:gd name="csX20" fmla="*/ 22031 w 264373"/>
                  <a:gd name="csY20" fmla="*/ 88124 h 202685"/>
                  <a:gd name="csX21" fmla="*/ 13219 w 264373"/>
                  <a:gd name="csY21" fmla="*/ 88124 h 202685"/>
                  <a:gd name="csX22" fmla="*/ 13219 w 264373"/>
                  <a:gd name="csY22" fmla="*/ 167436 h 202685"/>
                  <a:gd name="csX23" fmla="*/ 4406 w 264373"/>
                  <a:gd name="csY23" fmla="*/ 167436 h 202685"/>
                  <a:gd name="csX24" fmla="*/ 0 w 264373"/>
                  <a:gd name="csY24" fmla="*/ 171842 h 202685"/>
                  <a:gd name="csX25" fmla="*/ 0 w 264373"/>
                  <a:gd name="csY25" fmla="*/ 185061 h 202685"/>
                  <a:gd name="csX26" fmla="*/ 17625 w 264373"/>
                  <a:gd name="csY26" fmla="*/ 202686 h 202685"/>
                  <a:gd name="csX27" fmla="*/ 246748 w 264373"/>
                  <a:gd name="csY27" fmla="*/ 202686 h 202685"/>
                  <a:gd name="csX28" fmla="*/ 264373 w 264373"/>
                  <a:gd name="csY28" fmla="*/ 185061 h 202685"/>
                  <a:gd name="csX29" fmla="*/ 264373 w 264373"/>
                  <a:gd name="csY29" fmla="*/ 171842 h 202685"/>
                  <a:gd name="csX30" fmla="*/ 259967 w 264373"/>
                  <a:gd name="csY30" fmla="*/ 167436 h 202685"/>
                  <a:gd name="csX31" fmla="*/ 255561 w 264373"/>
                  <a:gd name="csY31" fmla="*/ 185061 h 202685"/>
                  <a:gd name="csX32" fmla="*/ 246748 w 264373"/>
                  <a:gd name="csY32" fmla="*/ 193874 h 202685"/>
                  <a:gd name="csX33" fmla="*/ 17625 w 264373"/>
                  <a:gd name="csY33" fmla="*/ 193874 h 202685"/>
                  <a:gd name="csX34" fmla="*/ 8812 w 264373"/>
                  <a:gd name="csY34" fmla="*/ 185061 h 202685"/>
                  <a:gd name="csX35" fmla="*/ 8812 w 264373"/>
                  <a:gd name="csY35" fmla="*/ 176249 h 202685"/>
                  <a:gd name="csX36" fmla="*/ 105229 w 264373"/>
                  <a:gd name="csY36" fmla="*/ 176249 h 202685"/>
                  <a:gd name="csX37" fmla="*/ 108415 w 264373"/>
                  <a:gd name="csY37" fmla="*/ 178217 h 202685"/>
                  <a:gd name="csX38" fmla="*/ 119488 w 264373"/>
                  <a:gd name="csY38" fmla="*/ 185061 h 202685"/>
                  <a:gd name="csX39" fmla="*/ 144885 w 264373"/>
                  <a:gd name="csY39" fmla="*/ 185061 h 202685"/>
                  <a:gd name="csX40" fmla="*/ 155980 w 264373"/>
                  <a:gd name="csY40" fmla="*/ 178217 h 202685"/>
                  <a:gd name="csX41" fmla="*/ 159144 w 264373"/>
                  <a:gd name="csY41" fmla="*/ 176249 h 202685"/>
                  <a:gd name="csX42" fmla="*/ 255561 w 264373"/>
                  <a:gd name="csY42" fmla="*/ 176249 h 202685"/>
                  <a:gd name="csX43" fmla="*/ 114562 w 264373"/>
                  <a:gd name="csY43" fmla="*/ 8812 h 202685"/>
                  <a:gd name="csX44" fmla="*/ 114562 w 264373"/>
                  <a:gd name="csY44" fmla="*/ 0 h 202685"/>
                  <a:gd name="csX45" fmla="*/ 35250 w 264373"/>
                  <a:gd name="csY45" fmla="*/ 0 h 202685"/>
                  <a:gd name="csX46" fmla="*/ 13219 w 264373"/>
                  <a:gd name="csY46" fmla="*/ 22031 h 202685"/>
                  <a:gd name="csX47" fmla="*/ 13219 w 264373"/>
                  <a:gd name="csY47" fmla="*/ 26437 h 202685"/>
                  <a:gd name="csX48" fmla="*/ 22031 w 264373"/>
                  <a:gd name="csY48" fmla="*/ 26437 h 202685"/>
                  <a:gd name="csX49" fmla="*/ 22031 w 264373"/>
                  <a:gd name="csY49" fmla="*/ 22031 h 202685"/>
                  <a:gd name="csX50" fmla="*/ 35250 w 264373"/>
                  <a:gd name="csY50" fmla="*/ 8812 h 20268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</a:cxnLst>
                <a:rect l="l" t="t" r="r" b="b"/>
                <a:pathLst>
                  <a:path w="264373" h="202685">
                    <a:moveTo>
                      <a:pt x="259967" y="167436"/>
                    </a:moveTo>
                    <a:lnTo>
                      <a:pt x="251154" y="167436"/>
                    </a:lnTo>
                    <a:lnTo>
                      <a:pt x="251154" y="158624"/>
                    </a:lnTo>
                    <a:lnTo>
                      <a:pt x="242342" y="158624"/>
                    </a:lnTo>
                    <a:lnTo>
                      <a:pt x="242342" y="167436"/>
                    </a:lnTo>
                    <a:lnTo>
                      <a:pt x="233529" y="167436"/>
                    </a:lnTo>
                    <a:lnTo>
                      <a:pt x="233529" y="158624"/>
                    </a:lnTo>
                    <a:lnTo>
                      <a:pt x="224717" y="158624"/>
                    </a:lnTo>
                    <a:lnTo>
                      <a:pt x="224717" y="167436"/>
                    </a:lnTo>
                    <a:lnTo>
                      <a:pt x="159144" y="167436"/>
                    </a:lnTo>
                    <a:cubicBezTo>
                      <a:pt x="154443" y="167412"/>
                      <a:pt x="150137" y="170067"/>
                      <a:pt x="148049" y="174280"/>
                    </a:cubicBezTo>
                    <a:cubicBezTo>
                      <a:pt x="147452" y="175492"/>
                      <a:pt x="146215" y="176257"/>
                      <a:pt x="144863" y="176249"/>
                    </a:cubicBezTo>
                    <a:lnTo>
                      <a:pt x="119489" y="176249"/>
                    </a:lnTo>
                    <a:cubicBezTo>
                      <a:pt x="118137" y="176258"/>
                      <a:pt x="116899" y="175493"/>
                      <a:pt x="116302" y="174280"/>
                    </a:cubicBezTo>
                    <a:cubicBezTo>
                      <a:pt x="114218" y="170074"/>
                      <a:pt x="109923" y="167419"/>
                      <a:pt x="105229" y="167436"/>
                    </a:cubicBezTo>
                    <a:lnTo>
                      <a:pt x="39656" y="167436"/>
                    </a:lnTo>
                    <a:lnTo>
                      <a:pt x="39656" y="88124"/>
                    </a:lnTo>
                    <a:lnTo>
                      <a:pt x="30844" y="88124"/>
                    </a:lnTo>
                    <a:lnTo>
                      <a:pt x="30844" y="167436"/>
                    </a:lnTo>
                    <a:lnTo>
                      <a:pt x="22031" y="167436"/>
                    </a:lnTo>
                    <a:lnTo>
                      <a:pt x="22031" y="88124"/>
                    </a:lnTo>
                    <a:lnTo>
                      <a:pt x="13219" y="88124"/>
                    </a:lnTo>
                    <a:lnTo>
                      <a:pt x="13219" y="167436"/>
                    </a:lnTo>
                    <a:lnTo>
                      <a:pt x="4406" y="167436"/>
                    </a:lnTo>
                    <a:cubicBezTo>
                      <a:pt x="1973" y="167436"/>
                      <a:pt x="0" y="169409"/>
                      <a:pt x="0" y="171842"/>
                    </a:cubicBezTo>
                    <a:lnTo>
                      <a:pt x="0" y="185061"/>
                    </a:lnTo>
                    <a:cubicBezTo>
                      <a:pt x="0" y="194794"/>
                      <a:pt x="7892" y="202686"/>
                      <a:pt x="17625" y="202686"/>
                    </a:cubicBezTo>
                    <a:lnTo>
                      <a:pt x="246748" y="202686"/>
                    </a:lnTo>
                    <a:cubicBezTo>
                      <a:pt x="256481" y="202686"/>
                      <a:pt x="264373" y="194794"/>
                      <a:pt x="264373" y="185061"/>
                    </a:cubicBezTo>
                    <a:lnTo>
                      <a:pt x="264373" y="171842"/>
                    </a:lnTo>
                    <a:cubicBezTo>
                      <a:pt x="264373" y="169409"/>
                      <a:pt x="262400" y="167436"/>
                      <a:pt x="259967" y="167436"/>
                    </a:cubicBezTo>
                    <a:close/>
                    <a:moveTo>
                      <a:pt x="255561" y="185061"/>
                    </a:moveTo>
                    <a:cubicBezTo>
                      <a:pt x="255561" y="189928"/>
                      <a:pt x="251615" y="193874"/>
                      <a:pt x="246748" y="193874"/>
                    </a:cubicBezTo>
                    <a:lnTo>
                      <a:pt x="17625" y="193874"/>
                    </a:lnTo>
                    <a:cubicBezTo>
                      <a:pt x="12758" y="193874"/>
                      <a:pt x="8812" y="189928"/>
                      <a:pt x="8812" y="185061"/>
                    </a:cubicBezTo>
                    <a:lnTo>
                      <a:pt x="8812" y="176249"/>
                    </a:lnTo>
                    <a:lnTo>
                      <a:pt x="105229" y="176249"/>
                    </a:lnTo>
                    <a:cubicBezTo>
                      <a:pt x="106580" y="176240"/>
                      <a:pt x="107818" y="177005"/>
                      <a:pt x="108415" y="178217"/>
                    </a:cubicBezTo>
                    <a:cubicBezTo>
                      <a:pt x="110499" y="182423"/>
                      <a:pt x="114794" y="185078"/>
                      <a:pt x="119488" y="185061"/>
                    </a:cubicBezTo>
                    <a:lnTo>
                      <a:pt x="144885" y="185061"/>
                    </a:lnTo>
                    <a:cubicBezTo>
                      <a:pt x="149587" y="185087"/>
                      <a:pt x="153892" y="182431"/>
                      <a:pt x="155980" y="178217"/>
                    </a:cubicBezTo>
                    <a:cubicBezTo>
                      <a:pt x="156573" y="177012"/>
                      <a:pt x="157801" y="176249"/>
                      <a:pt x="159144" y="176249"/>
                    </a:cubicBezTo>
                    <a:lnTo>
                      <a:pt x="255561" y="176249"/>
                    </a:lnTo>
                    <a:close/>
                    <a:moveTo>
                      <a:pt x="114562" y="8812"/>
                    </a:moveTo>
                    <a:lnTo>
                      <a:pt x="114562" y="0"/>
                    </a:lnTo>
                    <a:lnTo>
                      <a:pt x="35250" y="0"/>
                    </a:lnTo>
                    <a:cubicBezTo>
                      <a:pt x="23087" y="15"/>
                      <a:pt x="13234" y="9869"/>
                      <a:pt x="13219" y="22031"/>
                    </a:cubicBezTo>
                    <a:lnTo>
                      <a:pt x="13219" y="26437"/>
                    </a:lnTo>
                    <a:lnTo>
                      <a:pt x="22031" y="26437"/>
                    </a:lnTo>
                    <a:lnTo>
                      <a:pt x="22031" y="22031"/>
                    </a:lnTo>
                    <a:cubicBezTo>
                      <a:pt x="22031" y="14731"/>
                      <a:pt x="27950" y="8812"/>
                      <a:pt x="35250" y="8812"/>
                    </a:cubicBezTo>
                    <a:close/>
                  </a:path>
                </a:pathLst>
              </a:custGeom>
              <a:grpFill/>
              <a:ln w="251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0" name="任意多边形: 形状 59"/>
              <p:cNvSpPr/>
              <p:nvPr/>
            </p:nvSpPr>
            <p:spPr>
              <a:xfrm>
                <a:off x="6624994" y="4193814"/>
                <a:ext cx="233570" cy="140938"/>
              </a:xfrm>
              <a:custGeom>
                <a:avLst/>
                <a:gdLst>
                  <a:gd name="csX0" fmla="*/ 0 w 233570"/>
                  <a:gd name="csY0" fmla="*/ 88062 h 140938"/>
                  <a:gd name="csX1" fmla="*/ 92531 w 233570"/>
                  <a:gd name="csY1" fmla="*/ 88062 h 140938"/>
                  <a:gd name="csX2" fmla="*/ 92531 w 233570"/>
                  <a:gd name="csY2" fmla="*/ 79249 h 140938"/>
                  <a:gd name="csX3" fmla="*/ 8812 w 233570"/>
                  <a:gd name="csY3" fmla="*/ 79249 h 140938"/>
                  <a:gd name="csX4" fmla="*/ 0 w 233570"/>
                  <a:gd name="csY4" fmla="*/ 88062 h 140938"/>
                  <a:gd name="csX5" fmla="*/ 219155 w 233570"/>
                  <a:gd name="csY5" fmla="*/ 55398 h 140938"/>
                  <a:gd name="csX6" fmla="*/ 224444 w 233570"/>
                  <a:gd name="csY6" fmla="*/ 38730 h 140938"/>
                  <a:gd name="csX7" fmla="*/ 224065 w 233570"/>
                  <a:gd name="csY7" fmla="*/ 35189 h 140938"/>
                  <a:gd name="csX8" fmla="*/ 221193 w 233570"/>
                  <a:gd name="csY8" fmla="*/ 33085 h 140938"/>
                  <a:gd name="csX9" fmla="*/ 204099 w 233570"/>
                  <a:gd name="csY9" fmla="*/ 29348 h 140938"/>
                  <a:gd name="csX10" fmla="*/ 200382 w 233570"/>
                  <a:gd name="csY10" fmla="*/ 12274 h 140938"/>
                  <a:gd name="csX11" fmla="*/ 198291 w 233570"/>
                  <a:gd name="csY11" fmla="*/ 9397 h 140938"/>
                  <a:gd name="csX12" fmla="*/ 194756 w 233570"/>
                  <a:gd name="csY12" fmla="*/ 9001 h 140938"/>
                  <a:gd name="csX13" fmla="*/ 178086 w 233570"/>
                  <a:gd name="csY13" fmla="*/ 14287 h 140938"/>
                  <a:gd name="csX14" fmla="*/ 166285 w 233570"/>
                  <a:gd name="csY14" fmla="*/ 1374 h 140938"/>
                  <a:gd name="csX15" fmla="*/ 163030 w 233570"/>
                  <a:gd name="csY15" fmla="*/ 0 h 140938"/>
                  <a:gd name="csX16" fmla="*/ 159775 w 233570"/>
                  <a:gd name="csY16" fmla="*/ 1375 h 140938"/>
                  <a:gd name="csX17" fmla="*/ 147991 w 233570"/>
                  <a:gd name="csY17" fmla="*/ 14311 h 140938"/>
                  <a:gd name="csX18" fmla="*/ 131304 w 233570"/>
                  <a:gd name="csY18" fmla="*/ 9002 h 140938"/>
                  <a:gd name="csX19" fmla="*/ 125768 w 233570"/>
                  <a:gd name="csY19" fmla="*/ 11858 h 140938"/>
                  <a:gd name="csX20" fmla="*/ 125661 w 233570"/>
                  <a:gd name="csY20" fmla="*/ 12257 h 140938"/>
                  <a:gd name="csX21" fmla="*/ 121924 w 233570"/>
                  <a:gd name="csY21" fmla="*/ 29348 h 140938"/>
                  <a:gd name="csX22" fmla="*/ 104867 w 233570"/>
                  <a:gd name="csY22" fmla="*/ 33085 h 140938"/>
                  <a:gd name="csX23" fmla="*/ 101504 w 233570"/>
                  <a:gd name="csY23" fmla="*/ 38329 h 140938"/>
                  <a:gd name="csX24" fmla="*/ 101612 w 233570"/>
                  <a:gd name="csY24" fmla="*/ 38731 h 140938"/>
                  <a:gd name="csX25" fmla="*/ 106900 w 233570"/>
                  <a:gd name="csY25" fmla="*/ 55398 h 140938"/>
                  <a:gd name="csX26" fmla="*/ 93964 w 233570"/>
                  <a:gd name="csY26" fmla="*/ 67182 h 140938"/>
                  <a:gd name="csX27" fmla="*/ 92524 w 233570"/>
                  <a:gd name="csY27" fmla="*/ 70437 h 140938"/>
                  <a:gd name="csX28" fmla="*/ 93964 w 233570"/>
                  <a:gd name="csY28" fmla="*/ 73692 h 140938"/>
                  <a:gd name="csX29" fmla="*/ 106900 w 233570"/>
                  <a:gd name="csY29" fmla="*/ 85476 h 140938"/>
                  <a:gd name="csX30" fmla="*/ 101612 w 233570"/>
                  <a:gd name="csY30" fmla="*/ 102143 h 140938"/>
                  <a:gd name="csX31" fmla="*/ 104466 w 233570"/>
                  <a:gd name="csY31" fmla="*/ 107681 h 140938"/>
                  <a:gd name="csX32" fmla="*/ 104867 w 233570"/>
                  <a:gd name="csY32" fmla="*/ 107789 h 140938"/>
                  <a:gd name="csX33" fmla="*/ 121961 w 233570"/>
                  <a:gd name="csY33" fmla="*/ 111526 h 140938"/>
                  <a:gd name="csX34" fmla="*/ 125695 w 233570"/>
                  <a:gd name="csY34" fmla="*/ 128617 h 140938"/>
                  <a:gd name="csX35" fmla="*/ 127800 w 233570"/>
                  <a:gd name="csY35" fmla="*/ 131491 h 140938"/>
                  <a:gd name="csX36" fmla="*/ 131341 w 233570"/>
                  <a:gd name="csY36" fmla="*/ 131873 h 140938"/>
                  <a:gd name="csX37" fmla="*/ 148009 w 233570"/>
                  <a:gd name="csY37" fmla="*/ 126563 h 140938"/>
                  <a:gd name="csX38" fmla="*/ 159792 w 233570"/>
                  <a:gd name="csY38" fmla="*/ 139499 h 140938"/>
                  <a:gd name="csX39" fmla="*/ 166012 w 233570"/>
                  <a:gd name="csY39" fmla="*/ 139792 h 140938"/>
                  <a:gd name="csX40" fmla="*/ 166304 w 233570"/>
                  <a:gd name="csY40" fmla="*/ 139499 h 140938"/>
                  <a:gd name="csX41" fmla="*/ 178086 w 233570"/>
                  <a:gd name="csY41" fmla="*/ 126563 h 140938"/>
                  <a:gd name="csX42" fmla="*/ 194756 w 233570"/>
                  <a:gd name="csY42" fmla="*/ 131872 h 140938"/>
                  <a:gd name="csX43" fmla="*/ 200292 w 233570"/>
                  <a:gd name="csY43" fmla="*/ 129016 h 140938"/>
                  <a:gd name="csX44" fmla="*/ 200399 w 233570"/>
                  <a:gd name="csY44" fmla="*/ 128617 h 140938"/>
                  <a:gd name="csX45" fmla="*/ 204136 w 233570"/>
                  <a:gd name="csY45" fmla="*/ 111526 h 140938"/>
                  <a:gd name="csX46" fmla="*/ 221227 w 233570"/>
                  <a:gd name="csY46" fmla="*/ 107789 h 140938"/>
                  <a:gd name="csX47" fmla="*/ 224590 w 233570"/>
                  <a:gd name="csY47" fmla="*/ 102545 h 140938"/>
                  <a:gd name="csX48" fmla="*/ 224482 w 233570"/>
                  <a:gd name="csY48" fmla="*/ 102143 h 140938"/>
                  <a:gd name="csX49" fmla="*/ 219197 w 233570"/>
                  <a:gd name="csY49" fmla="*/ 85476 h 140938"/>
                  <a:gd name="csX50" fmla="*/ 232133 w 233570"/>
                  <a:gd name="csY50" fmla="*/ 73692 h 140938"/>
                  <a:gd name="csX51" fmla="*/ 233571 w 233570"/>
                  <a:gd name="csY51" fmla="*/ 70437 h 140938"/>
                  <a:gd name="csX52" fmla="*/ 232133 w 233570"/>
                  <a:gd name="csY52" fmla="*/ 67182 h 140938"/>
                  <a:gd name="csX53" fmla="*/ 211133 w 233570"/>
                  <a:gd name="csY53" fmla="*/ 80862 h 140938"/>
                  <a:gd name="csX54" fmla="*/ 209904 w 233570"/>
                  <a:gd name="csY54" fmla="*/ 85458 h 140938"/>
                  <a:gd name="csX55" fmla="*/ 214584 w 233570"/>
                  <a:gd name="csY55" fmla="*/ 100213 h 140938"/>
                  <a:gd name="csX56" fmla="*/ 199457 w 233570"/>
                  <a:gd name="csY56" fmla="*/ 103522 h 140938"/>
                  <a:gd name="csX57" fmla="*/ 196098 w 233570"/>
                  <a:gd name="csY57" fmla="*/ 106881 h 140938"/>
                  <a:gd name="csX58" fmla="*/ 192807 w 233570"/>
                  <a:gd name="csY58" fmla="*/ 121990 h 140938"/>
                  <a:gd name="csX59" fmla="*/ 178051 w 233570"/>
                  <a:gd name="csY59" fmla="*/ 117292 h 140938"/>
                  <a:gd name="csX60" fmla="*/ 173456 w 233570"/>
                  <a:gd name="csY60" fmla="*/ 118522 h 140938"/>
                  <a:gd name="csX61" fmla="*/ 163030 w 233570"/>
                  <a:gd name="csY61" fmla="*/ 129987 h 140938"/>
                  <a:gd name="csX62" fmla="*/ 152604 w 233570"/>
                  <a:gd name="csY62" fmla="*/ 118531 h 140938"/>
                  <a:gd name="csX63" fmla="*/ 149349 w 233570"/>
                  <a:gd name="csY63" fmla="*/ 117094 h 140938"/>
                  <a:gd name="csX64" fmla="*/ 148028 w 233570"/>
                  <a:gd name="csY64" fmla="*/ 117302 h 140938"/>
                  <a:gd name="csX65" fmla="*/ 133254 w 233570"/>
                  <a:gd name="csY65" fmla="*/ 121990 h 140938"/>
                  <a:gd name="csX66" fmla="*/ 129945 w 233570"/>
                  <a:gd name="csY66" fmla="*/ 106863 h 140938"/>
                  <a:gd name="csX67" fmla="*/ 126586 w 233570"/>
                  <a:gd name="csY67" fmla="*/ 103505 h 140938"/>
                  <a:gd name="csX68" fmla="*/ 111476 w 233570"/>
                  <a:gd name="csY68" fmla="*/ 100213 h 140938"/>
                  <a:gd name="csX69" fmla="*/ 116175 w 233570"/>
                  <a:gd name="csY69" fmla="*/ 85458 h 140938"/>
                  <a:gd name="csX70" fmla="*/ 114944 w 233570"/>
                  <a:gd name="csY70" fmla="*/ 80862 h 140938"/>
                  <a:gd name="csX71" fmla="*/ 103479 w 233570"/>
                  <a:gd name="csY71" fmla="*/ 70436 h 140938"/>
                  <a:gd name="csX72" fmla="*/ 114936 w 233570"/>
                  <a:gd name="csY72" fmla="*/ 60010 h 140938"/>
                  <a:gd name="csX73" fmla="*/ 116164 w 233570"/>
                  <a:gd name="csY73" fmla="*/ 55415 h 140938"/>
                  <a:gd name="csX74" fmla="*/ 111476 w 233570"/>
                  <a:gd name="csY74" fmla="*/ 40660 h 140938"/>
                  <a:gd name="csX75" fmla="*/ 126603 w 233570"/>
                  <a:gd name="csY75" fmla="*/ 37351 h 140938"/>
                  <a:gd name="csX76" fmla="*/ 129962 w 233570"/>
                  <a:gd name="csY76" fmla="*/ 33993 h 140938"/>
                  <a:gd name="csX77" fmla="*/ 133253 w 233570"/>
                  <a:gd name="csY77" fmla="*/ 18883 h 140938"/>
                  <a:gd name="csX78" fmla="*/ 148009 w 233570"/>
                  <a:gd name="csY78" fmla="*/ 23582 h 140938"/>
                  <a:gd name="csX79" fmla="*/ 152604 w 233570"/>
                  <a:gd name="csY79" fmla="*/ 22351 h 140938"/>
                  <a:gd name="csX80" fmla="*/ 163030 w 233570"/>
                  <a:gd name="csY80" fmla="*/ 10886 h 140938"/>
                  <a:gd name="csX81" fmla="*/ 173456 w 233570"/>
                  <a:gd name="csY81" fmla="*/ 22342 h 140938"/>
                  <a:gd name="csX82" fmla="*/ 178051 w 233570"/>
                  <a:gd name="csY82" fmla="*/ 23571 h 140938"/>
                  <a:gd name="csX83" fmla="*/ 192807 w 233570"/>
                  <a:gd name="csY83" fmla="*/ 18883 h 140938"/>
                  <a:gd name="csX84" fmla="*/ 196115 w 233570"/>
                  <a:gd name="csY84" fmla="*/ 34010 h 140938"/>
                  <a:gd name="csX85" fmla="*/ 199474 w 233570"/>
                  <a:gd name="csY85" fmla="*/ 37369 h 140938"/>
                  <a:gd name="csX86" fmla="*/ 214601 w 233570"/>
                  <a:gd name="csY86" fmla="*/ 40678 h 140938"/>
                  <a:gd name="csX87" fmla="*/ 209904 w 233570"/>
                  <a:gd name="csY87" fmla="*/ 55435 h 140938"/>
                  <a:gd name="csX88" fmla="*/ 211132 w 233570"/>
                  <a:gd name="csY88" fmla="*/ 60030 h 140938"/>
                  <a:gd name="csX89" fmla="*/ 222581 w 233570"/>
                  <a:gd name="csY89" fmla="*/ 70437 h 14093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</a:cxnLst>
                <a:rect l="l" t="t" r="r" b="b"/>
                <a:pathLst>
                  <a:path w="233570" h="140938">
                    <a:moveTo>
                      <a:pt x="0" y="88062"/>
                    </a:moveTo>
                    <a:lnTo>
                      <a:pt x="92531" y="88062"/>
                    </a:lnTo>
                    <a:lnTo>
                      <a:pt x="92531" y="79249"/>
                    </a:lnTo>
                    <a:lnTo>
                      <a:pt x="8812" y="79249"/>
                    </a:lnTo>
                    <a:cubicBezTo>
                      <a:pt x="3946" y="79249"/>
                      <a:pt x="0" y="83195"/>
                      <a:pt x="0" y="88062"/>
                    </a:cubicBezTo>
                    <a:close/>
                    <a:moveTo>
                      <a:pt x="219155" y="55398"/>
                    </a:moveTo>
                    <a:lnTo>
                      <a:pt x="224444" y="38730"/>
                    </a:lnTo>
                    <a:cubicBezTo>
                      <a:pt x="224820" y="37549"/>
                      <a:pt x="224683" y="36264"/>
                      <a:pt x="224065" y="35189"/>
                    </a:cubicBezTo>
                    <a:cubicBezTo>
                      <a:pt x="223445" y="34115"/>
                      <a:pt x="222403" y="33352"/>
                      <a:pt x="221193" y="33085"/>
                    </a:cubicBezTo>
                    <a:lnTo>
                      <a:pt x="204099" y="29348"/>
                    </a:lnTo>
                    <a:lnTo>
                      <a:pt x="200382" y="12274"/>
                    </a:lnTo>
                    <a:cubicBezTo>
                      <a:pt x="200120" y="11064"/>
                      <a:pt x="199361" y="10020"/>
                      <a:pt x="198291" y="9397"/>
                    </a:cubicBezTo>
                    <a:cubicBezTo>
                      <a:pt x="197221" y="8773"/>
                      <a:pt x="195937" y="8629"/>
                      <a:pt x="194756" y="9001"/>
                    </a:cubicBezTo>
                    <a:lnTo>
                      <a:pt x="178086" y="14287"/>
                    </a:lnTo>
                    <a:lnTo>
                      <a:pt x="166285" y="1374"/>
                    </a:lnTo>
                    <a:cubicBezTo>
                      <a:pt x="165431" y="495"/>
                      <a:pt x="164257" y="0"/>
                      <a:pt x="163030" y="0"/>
                    </a:cubicBezTo>
                    <a:cubicBezTo>
                      <a:pt x="161803" y="0"/>
                      <a:pt x="160629" y="495"/>
                      <a:pt x="159775" y="1375"/>
                    </a:cubicBezTo>
                    <a:lnTo>
                      <a:pt x="147991" y="14311"/>
                    </a:lnTo>
                    <a:lnTo>
                      <a:pt x="131304" y="9002"/>
                    </a:lnTo>
                    <a:cubicBezTo>
                      <a:pt x="128987" y="8262"/>
                      <a:pt x="126508" y="9541"/>
                      <a:pt x="125768" y="11858"/>
                    </a:cubicBezTo>
                    <a:cubicBezTo>
                      <a:pt x="125726" y="11990"/>
                      <a:pt x="125690" y="12123"/>
                      <a:pt x="125661" y="12257"/>
                    </a:cubicBezTo>
                    <a:lnTo>
                      <a:pt x="121924" y="29348"/>
                    </a:lnTo>
                    <a:lnTo>
                      <a:pt x="104867" y="33085"/>
                    </a:lnTo>
                    <a:cubicBezTo>
                      <a:pt x="102490" y="33605"/>
                      <a:pt x="100984" y="35953"/>
                      <a:pt x="101504" y="38329"/>
                    </a:cubicBezTo>
                    <a:cubicBezTo>
                      <a:pt x="101534" y="38465"/>
                      <a:pt x="101570" y="38599"/>
                      <a:pt x="101612" y="38731"/>
                    </a:cubicBezTo>
                    <a:lnTo>
                      <a:pt x="106900" y="55398"/>
                    </a:lnTo>
                    <a:lnTo>
                      <a:pt x="93964" y="67182"/>
                    </a:lnTo>
                    <a:cubicBezTo>
                      <a:pt x="93047" y="68017"/>
                      <a:pt x="92524" y="69198"/>
                      <a:pt x="92524" y="70437"/>
                    </a:cubicBezTo>
                    <a:cubicBezTo>
                      <a:pt x="92524" y="71676"/>
                      <a:pt x="93047" y="72857"/>
                      <a:pt x="93964" y="73692"/>
                    </a:cubicBezTo>
                    <a:lnTo>
                      <a:pt x="106900" y="85476"/>
                    </a:lnTo>
                    <a:lnTo>
                      <a:pt x="101612" y="102143"/>
                    </a:lnTo>
                    <a:cubicBezTo>
                      <a:pt x="100871" y="104461"/>
                      <a:pt x="102148" y="106940"/>
                      <a:pt x="104466" y="107681"/>
                    </a:cubicBezTo>
                    <a:cubicBezTo>
                      <a:pt x="104598" y="107723"/>
                      <a:pt x="104731" y="107759"/>
                      <a:pt x="104867" y="107789"/>
                    </a:cubicBezTo>
                    <a:lnTo>
                      <a:pt x="121961" y="111526"/>
                    </a:lnTo>
                    <a:lnTo>
                      <a:pt x="125695" y="128617"/>
                    </a:lnTo>
                    <a:cubicBezTo>
                      <a:pt x="125960" y="129829"/>
                      <a:pt x="126724" y="130873"/>
                      <a:pt x="127800" y="131491"/>
                    </a:cubicBezTo>
                    <a:cubicBezTo>
                      <a:pt x="128874" y="132112"/>
                      <a:pt x="130160" y="132250"/>
                      <a:pt x="131341" y="131873"/>
                    </a:cubicBezTo>
                    <a:lnTo>
                      <a:pt x="148009" y="126563"/>
                    </a:lnTo>
                    <a:lnTo>
                      <a:pt x="159792" y="139499"/>
                    </a:lnTo>
                    <a:cubicBezTo>
                      <a:pt x="161429" y="141298"/>
                      <a:pt x="164213" y="141429"/>
                      <a:pt x="166012" y="139792"/>
                    </a:cubicBezTo>
                    <a:cubicBezTo>
                      <a:pt x="166114" y="139699"/>
                      <a:pt x="166212" y="139601"/>
                      <a:pt x="166304" y="139499"/>
                    </a:cubicBezTo>
                    <a:lnTo>
                      <a:pt x="178086" y="126563"/>
                    </a:lnTo>
                    <a:lnTo>
                      <a:pt x="194756" y="131872"/>
                    </a:lnTo>
                    <a:cubicBezTo>
                      <a:pt x="197073" y="132612"/>
                      <a:pt x="199552" y="131333"/>
                      <a:pt x="200292" y="129016"/>
                    </a:cubicBezTo>
                    <a:cubicBezTo>
                      <a:pt x="200334" y="128884"/>
                      <a:pt x="200370" y="128751"/>
                      <a:pt x="200399" y="128617"/>
                    </a:cubicBezTo>
                    <a:lnTo>
                      <a:pt x="204136" y="111526"/>
                    </a:lnTo>
                    <a:lnTo>
                      <a:pt x="221227" y="107789"/>
                    </a:lnTo>
                    <a:cubicBezTo>
                      <a:pt x="223604" y="107269"/>
                      <a:pt x="225110" y="104921"/>
                      <a:pt x="224590" y="102545"/>
                    </a:cubicBezTo>
                    <a:cubicBezTo>
                      <a:pt x="224561" y="102409"/>
                      <a:pt x="224525" y="102275"/>
                      <a:pt x="224482" y="102143"/>
                    </a:cubicBezTo>
                    <a:lnTo>
                      <a:pt x="219197" y="85476"/>
                    </a:lnTo>
                    <a:lnTo>
                      <a:pt x="232133" y="73692"/>
                    </a:lnTo>
                    <a:cubicBezTo>
                      <a:pt x="233048" y="72857"/>
                      <a:pt x="233571" y="71676"/>
                      <a:pt x="233571" y="70437"/>
                    </a:cubicBezTo>
                    <a:cubicBezTo>
                      <a:pt x="233571" y="69198"/>
                      <a:pt x="233048" y="68017"/>
                      <a:pt x="232133" y="67182"/>
                    </a:cubicBezTo>
                    <a:close/>
                    <a:moveTo>
                      <a:pt x="211133" y="80862"/>
                    </a:moveTo>
                    <a:cubicBezTo>
                      <a:pt x="209860" y="82022"/>
                      <a:pt x="209380" y="83818"/>
                      <a:pt x="209904" y="85458"/>
                    </a:cubicBezTo>
                    <a:lnTo>
                      <a:pt x="214584" y="100213"/>
                    </a:lnTo>
                    <a:lnTo>
                      <a:pt x="199457" y="103522"/>
                    </a:lnTo>
                    <a:cubicBezTo>
                      <a:pt x="197779" y="103892"/>
                      <a:pt x="196468" y="105202"/>
                      <a:pt x="196098" y="106881"/>
                    </a:cubicBezTo>
                    <a:lnTo>
                      <a:pt x="192807" y="121990"/>
                    </a:lnTo>
                    <a:lnTo>
                      <a:pt x="178051" y="117292"/>
                    </a:lnTo>
                    <a:cubicBezTo>
                      <a:pt x="176411" y="116775"/>
                      <a:pt x="174619" y="117255"/>
                      <a:pt x="173456" y="118522"/>
                    </a:cubicBezTo>
                    <a:lnTo>
                      <a:pt x="163030" y="129987"/>
                    </a:lnTo>
                    <a:lnTo>
                      <a:pt x="152604" y="118531"/>
                    </a:lnTo>
                    <a:cubicBezTo>
                      <a:pt x="151770" y="117615"/>
                      <a:pt x="150588" y="117093"/>
                      <a:pt x="149349" y="117094"/>
                    </a:cubicBezTo>
                    <a:cubicBezTo>
                      <a:pt x="148900" y="117095"/>
                      <a:pt x="148455" y="117165"/>
                      <a:pt x="148028" y="117302"/>
                    </a:cubicBezTo>
                    <a:lnTo>
                      <a:pt x="133254" y="121990"/>
                    </a:lnTo>
                    <a:lnTo>
                      <a:pt x="129945" y="106863"/>
                    </a:lnTo>
                    <a:cubicBezTo>
                      <a:pt x="129575" y="105185"/>
                      <a:pt x="128264" y="103875"/>
                      <a:pt x="126586" y="103505"/>
                    </a:cubicBezTo>
                    <a:lnTo>
                      <a:pt x="111476" y="100213"/>
                    </a:lnTo>
                    <a:lnTo>
                      <a:pt x="116175" y="85458"/>
                    </a:lnTo>
                    <a:cubicBezTo>
                      <a:pt x="116699" y="83817"/>
                      <a:pt x="116218" y="82022"/>
                      <a:pt x="114944" y="80862"/>
                    </a:cubicBezTo>
                    <a:lnTo>
                      <a:pt x="103479" y="70436"/>
                    </a:lnTo>
                    <a:lnTo>
                      <a:pt x="114936" y="60010"/>
                    </a:lnTo>
                    <a:cubicBezTo>
                      <a:pt x="116209" y="58851"/>
                      <a:pt x="116690" y="57055"/>
                      <a:pt x="116164" y="55415"/>
                    </a:cubicBezTo>
                    <a:lnTo>
                      <a:pt x="111476" y="40660"/>
                    </a:lnTo>
                    <a:lnTo>
                      <a:pt x="126603" y="37351"/>
                    </a:lnTo>
                    <a:cubicBezTo>
                      <a:pt x="128281" y="36981"/>
                      <a:pt x="129592" y="35671"/>
                      <a:pt x="129962" y="33993"/>
                    </a:cubicBezTo>
                    <a:lnTo>
                      <a:pt x="133253" y="18883"/>
                    </a:lnTo>
                    <a:lnTo>
                      <a:pt x="148009" y="23582"/>
                    </a:lnTo>
                    <a:cubicBezTo>
                      <a:pt x="149650" y="24105"/>
                      <a:pt x="151444" y="23625"/>
                      <a:pt x="152604" y="22351"/>
                    </a:cubicBezTo>
                    <a:lnTo>
                      <a:pt x="163030" y="10886"/>
                    </a:lnTo>
                    <a:lnTo>
                      <a:pt x="173456" y="22342"/>
                    </a:lnTo>
                    <a:cubicBezTo>
                      <a:pt x="174616" y="23616"/>
                      <a:pt x="176411" y="24096"/>
                      <a:pt x="178051" y="23571"/>
                    </a:cubicBezTo>
                    <a:lnTo>
                      <a:pt x="192807" y="18883"/>
                    </a:lnTo>
                    <a:lnTo>
                      <a:pt x="196115" y="34010"/>
                    </a:lnTo>
                    <a:cubicBezTo>
                      <a:pt x="196485" y="35688"/>
                      <a:pt x="197796" y="36999"/>
                      <a:pt x="199474" y="37369"/>
                    </a:cubicBezTo>
                    <a:lnTo>
                      <a:pt x="214601" y="40678"/>
                    </a:lnTo>
                    <a:lnTo>
                      <a:pt x="209904" y="55435"/>
                    </a:lnTo>
                    <a:cubicBezTo>
                      <a:pt x="209380" y="57075"/>
                      <a:pt x="209860" y="58870"/>
                      <a:pt x="211132" y="60030"/>
                    </a:cubicBezTo>
                    <a:lnTo>
                      <a:pt x="222581" y="70437"/>
                    </a:lnTo>
                    <a:close/>
                  </a:path>
                </a:pathLst>
              </a:custGeom>
              <a:grpFill/>
              <a:ln w="251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任意多边形: 形状 60"/>
              <p:cNvSpPr/>
              <p:nvPr/>
            </p:nvSpPr>
            <p:spPr>
              <a:xfrm>
                <a:off x="6642602" y="4237813"/>
                <a:ext cx="215921" cy="176244"/>
              </a:xfrm>
              <a:custGeom>
                <a:avLst/>
                <a:gdLst>
                  <a:gd name="csX0" fmla="*/ 120276 w 215921"/>
                  <a:gd name="csY0" fmla="*/ 45353 h 176244"/>
                  <a:gd name="csX1" fmla="*/ 164336 w 215921"/>
                  <a:gd name="csY1" fmla="*/ 1291 h 176244"/>
                  <a:gd name="csX2" fmla="*/ 170569 w 215921"/>
                  <a:gd name="csY2" fmla="*/ 7521 h 176244"/>
                  <a:gd name="csX3" fmla="*/ 126506 w 215921"/>
                  <a:gd name="csY3" fmla="*/ 51584 h 176244"/>
                  <a:gd name="csX4" fmla="*/ 136610 w 215921"/>
                  <a:gd name="csY4" fmla="*/ 13219 h 176244"/>
                  <a:gd name="csX5" fmla="*/ 123391 w 215921"/>
                  <a:gd name="csY5" fmla="*/ 0 h 176244"/>
                  <a:gd name="csX6" fmla="*/ 110173 w 215921"/>
                  <a:gd name="csY6" fmla="*/ 13219 h 176244"/>
                  <a:gd name="csX7" fmla="*/ 123391 w 215921"/>
                  <a:gd name="csY7" fmla="*/ 26437 h 176244"/>
                  <a:gd name="csX8" fmla="*/ 136610 w 215921"/>
                  <a:gd name="csY8" fmla="*/ 13219 h 176244"/>
                  <a:gd name="csX9" fmla="*/ 118985 w 215921"/>
                  <a:gd name="csY9" fmla="*/ 13219 h 176244"/>
                  <a:gd name="csX10" fmla="*/ 123391 w 215921"/>
                  <a:gd name="csY10" fmla="*/ 8812 h 176244"/>
                  <a:gd name="csX11" fmla="*/ 127797 w 215921"/>
                  <a:gd name="csY11" fmla="*/ 13219 h 176244"/>
                  <a:gd name="csX12" fmla="*/ 123391 w 215921"/>
                  <a:gd name="csY12" fmla="*/ 17625 h 176244"/>
                  <a:gd name="csX13" fmla="*/ 118985 w 215921"/>
                  <a:gd name="csY13" fmla="*/ 13219 h 176244"/>
                  <a:gd name="csX14" fmla="*/ 167453 w 215921"/>
                  <a:gd name="csY14" fmla="*/ 26437 h 176244"/>
                  <a:gd name="csX15" fmla="*/ 154235 w 215921"/>
                  <a:gd name="csY15" fmla="*/ 39656 h 176244"/>
                  <a:gd name="csX16" fmla="*/ 167453 w 215921"/>
                  <a:gd name="csY16" fmla="*/ 52875 h 176244"/>
                  <a:gd name="csX17" fmla="*/ 180672 w 215921"/>
                  <a:gd name="csY17" fmla="*/ 39656 h 176244"/>
                  <a:gd name="csX18" fmla="*/ 167453 w 215921"/>
                  <a:gd name="csY18" fmla="*/ 26437 h 176244"/>
                  <a:gd name="csX19" fmla="*/ 167453 w 215921"/>
                  <a:gd name="csY19" fmla="*/ 44062 h 176244"/>
                  <a:gd name="csX20" fmla="*/ 163047 w 215921"/>
                  <a:gd name="csY20" fmla="*/ 39656 h 176244"/>
                  <a:gd name="csX21" fmla="*/ 167453 w 215921"/>
                  <a:gd name="csY21" fmla="*/ 35249 h 176244"/>
                  <a:gd name="csX22" fmla="*/ 171859 w 215921"/>
                  <a:gd name="csY22" fmla="*/ 39656 h 176244"/>
                  <a:gd name="csX23" fmla="*/ 167453 w 215921"/>
                  <a:gd name="csY23" fmla="*/ 44062 h 176244"/>
                  <a:gd name="csX24" fmla="*/ 65951 w 215921"/>
                  <a:gd name="csY24" fmla="*/ 73880 h 176244"/>
                  <a:gd name="csX25" fmla="*/ 61851 w 215921"/>
                  <a:gd name="csY25" fmla="*/ 75032 h 176244"/>
                  <a:gd name="csX26" fmla="*/ 18845 w 215921"/>
                  <a:gd name="csY26" fmla="*/ 117593 h 176244"/>
                  <a:gd name="csX27" fmla="*/ 8388 w 215921"/>
                  <a:gd name="csY27" fmla="*/ 123815 h 176244"/>
                  <a:gd name="csX28" fmla="*/ 900 w 215921"/>
                  <a:gd name="csY28" fmla="*/ 143824 h 176244"/>
                  <a:gd name="csX29" fmla="*/ 14765 w 215921"/>
                  <a:gd name="csY29" fmla="*/ 155218 h 176244"/>
                  <a:gd name="csX30" fmla="*/ 23943 w 215921"/>
                  <a:gd name="csY30" fmla="*/ 173789 h 176244"/>
                  <a:gd name="csX31" fmla="*/ 27909 w 215921"/>
                  <a:gd name="csY31" fmla="*/ 176244 h 176244"/>
                  <a:gd name="csX32" fmla="*/ 45243 w 215921"/>
                  <a:gd name="csY32" fmla="*/ 176244 h 176244"/>
                  <a:gd name="csX33" fmla="*/ 48933 w 215921"/>
                  <a:gd name="csY33" fmla="*/ 174254 h 176244"/>
                  <a:gd name="csX34" fmla="*/ 49288 w 215921"/>
                  <a:gd name="csY34" fmla="*/ 170076 h 176244"/>
                  <a:gd name="csX35" fmla="*/ 40166 w 215921"/>
                  <a:gd name="csY35" fmla="*/ 149017 h 176244"/>
                  <a:gd name="csX36" fmla="*/ 88066 w 215921"/>
                  <a:gd name="csY36" fmla="*/ 149811 h 176244"/>
                  <a:gd name="csX37" fmla="*/ 88141 w 215921"/>
                  <a:gd name="csY37" fmla="*/ 149811 h 176244"/>
                  <a:gd name="csX38" fmla="*/ 91728 w 215921"/>
                  <a:gd name="csY38" fmla="*/ 147963 h 176244"/>
                  <a:gd name="csX39" fmla="*/ 92305 w 215921"/>
                  <a:gd name="csY39" fmla="*/ 143968 h 176244"/>
                  <a:gd name="csX40" fmla="*/ 69116 w 215921"/>
                  <a:gd name="csY40" fmla="*/ 76730 h 176244"/>
                  <a:gd name="csX41" fmla="*/ 65951 w 215921"/>
                  <a:gd name="csY41" fmla="*/ 73879 h 176244"/>
                  <a:gd name="csX42" fmla="*/ 9270 w 215921"/>
                  <a:gd name="csY42" fmla="*/ 140998 h 176244"/>
                  <a:gd name="csX43" fmla="*/ 12887 w 215921"/>
                  <a:gd name="csY43" fmla="*/ 131371 h 176244"/>
                  <a:gd name="csX44" fmla="*/ 19770 w 215921"/>
                  <a:gd name="csY44" fmla="*/ 127287 h 176244"/>
                  <a:gd name="csX45" fmla="*/ 27476 w 215921"/>
                  <a:gd name="csY45" fmla="*/ 142528 h 176244"/>
                  <a:gd name="csX46" fmla="*/ 20951 w 215921"/>
                  <a:gd name="csY46" fmla="*/ 145757 h 176244"/>
                  <a:gd name="csX47" fmla="*/ 13955 w 215921"/>
                  <a:gd name="csY47" fmla="*/ 145985 h 176244"/>
                  <a:gd name="csX48" fmla="*/ 9271 w 215921"/>
                  <a:gd name="csY48" fmla="*/ 140998 h 176244"/>
                  <a:gd name="csX49" fmla="*/ 30650 w 215921"/>
                  <a:gd name="csY49" fmla="*/ 167436 h 176244"/>
                  <a:gd name="csX50" fmla="*/ 23987 w 215921"/>
                  <a:gd name="csY50" fmla="*/ 153978 h 176244"/>
                  <a:gd name="csX51" fmla="*/ 24841 w 215921"/>
                  <a:gd name="csY51" fmla="*/ 153671 h 176244"/>
                  <a:gd name="csX52" fmla="*/ 31197 w 215921"/>
                  <a:gd name="csY52" fmla="*/ 150525 h 176244"/>
                  <a:gd name="csX53" fmla="*/ 38518 w 215921"/>
                  <a:gd name="csY53" fmla="*/ 167436 h 176244"/>
                  <a:gd name="csX54" fmla="*/ 36149 w 215921"/>
                  <a:gd name="csY54" fmla="*/ 140157 h 176244"/>
                  <a:gd name="csX55" fmla="*/ 26967 w 215921"/>
                  <a:gd name="csY55" fmla="*/ 121977 h 176244"/>
                  <a:gd name="csX56" fmla="*/ 63096 w 215921"/>
                  <a:gd name="csY56" fmla="*/ 86224 h 176244"/>
                  <a:gd name="csX57" fmla="*/ 81952 w 215921"/>
                  <a:gd name="csY57" fmla="*/ 140897 h 176244"/>
                  <a:gd name="csX58" fmla="*/ 88847 w 215921"/>
                  <a:gd name="csY58" fmla="*/ 106872 h 176244"/>
                  <a:gd name="csX59" fmla="*/ 103419 w 215921"/>
                  <a:gd name="csY59" fmla="*/ 101808 h 176244"/>
                  <a:gd name="csX60" fmla="*/ 106308 w 215921"/>
                  <a:gd name="csY60" fmla="*/ 110127 h 176244"/>
                  <a:gd name="csX61" fmla="*/ 91739 w 215921"/>
                  <a:gd name="csY61" fmla="*/ 115192 h 176244"/>
                  <a:gd name="csX62" fmla="*/ 77397 w 215921"/>
                  <a:gd name="csY62" fmla="*/ 77580 h 176244"/>
                  <a:gd name="csX63" fmla="*/ 87115 w 215921"/>
                  <a:gd name="csY63" fmla="*/ 67451 h 176244"/>
                  <a:gd name="csX64" fmla="*/ 93475 w 215921"/>
                  <a:gd name="csY64" fmla="*/ 73552 h 176244"/>
                  <a:gd name="csX65" fmla="*/ 83755 w 215921"/>
                  <a:gd name="csY65" fmla="*/ 83681 h 176244"/>
                  <a:gd name="csX66" fmla="*/ 101360 w 215921"/>
                  <a:gd name="csY66" fmla="*/ 136593 h 176244"/>
                  <a:gd name="csX67" fmla="*/ 114579 w 215921"/>
                  <a:gd name="csY67" fmla="*/ 136593 h 176244"/>
                  <a:gd name="csX68" fmla="*/ 114579 w 215921"/>
                  <a:gd name="csY68" fmla="*/ 145405 h 176244"/>
                  <a:gd name="csX69" fmla="*/ 101360 w 215921"/>
                  <a:gd name="csY69" fmla="*/ 145405 h 176244"/>
                  <a:gd name="csX70" fmla="*/ 211516 w 215921"/>
                  <a:gd name="csY70" fmla="*/ 105749 h 176244"/>
                  <a:gd name="csX71" fmla="*/ 202703 w 215921"/>
                  <a:gd name="csY71" fmla="*/ 105749 h 176244"/>
                  <a:gd name="csX72" fmla="*/ 202703 w 215921"/>
                  <a:gd name="csY72" fmla="*/ 74906 h 176244"/>
                  <a:gd name="csX73" fmla="*/ 193891 w 215921"/>
                  <a:gd name="csY73" fmla="*/ 74906 h 176244"/>
                  <a:gd name="csX74" fmla="*/ 193891 w 215921"/>
                  <a:gd name="csY74" fmla="*/ 105749 h 176244"/>
                  <a:gd name="csX75" fmla="*/ 185078 w 215921"/>
                  <a:gd name="csY75" fmla="*/ 105749 h 176244"/>
                  <a:gd name="csX76" fmla="*/ 185078 w 215921"/>
                  <a:gd name="csY76" fmla="*/ 96937 h 176244"/>
                  <a:gd name="csX77" fmla="*/ 176266 w 215921"/>
                  <a:gd name="csY77" fmla="*/ 96937 h 176244"/>
                  <a:gd name="csX78" fmla="*/ 176266 w 215921"/>
                  <a:gd name="csY78" fmla="*/ 105749 h 176244"/>
                  <a:gd name="csX79" fmla="*/ 127797 w 215921"/>
                  <a:gd name="csY79" fmla="*/ 105749 h 176244"/>
                  <a:gd name="csX80" fmla="*/ 123391 w 215921"/>
                  <a:gd name="csY80" fmla="*/ 110155 h 176244"/>
                  <a:gd name="csX81" fmla="*/ 123391 w 215921"/>
                  <a:gd name="csY81" fmla="*/ 163030 h 176244"/>
                  <a:gd name="csX82" fmla="*/ 127797 w 215921"/>
                  <a:gd name="csY82" fmla="*/ 167436 h 176244"/>
                  <a:gd name="csX83" fmla="*/ 211516 w 215921"/>
                  <a:gd name="csY83" fmla="*/ 167436 h 176244"/>
                  <a:gd name="csX84" fmla="*/ 215922 w 215921"/>
                  <a:gd name="csY84" fmla="*/ 163030 h 176244"/>
                  <a:gd name="csX85" fmla="*/ 215922 w 215921"/>
                  <a:gd name="csY85" fmla="*/ 110155 h 176244"/>
                  <a:gd name="csX86" fmla="*/ 211516 w 215921"/>
                  <a:gd name="csY86" fmla="*/ 105749 h 176244"/>
                  <a:gd name="csX87" fmla="*/ 207109 w 215921"/>
                  <a:gd name="csY87" fmla="*/ 158624 h 176244"/>
                  <a:gd name="csX88" fmla="*/ 132204 w 215921"/>
                  <a:gd name="csY88" fmla="*/ 158624 h 176244"/>
                  <a:gd name="csX89" fmla="*/ 132204 w 215921"/>
                  <a:gd name="csY89" fmla="*/ 114562 h 176244"/>
                  <a:gd name="csX90" fmla="*/ 207109 w 215921"/>
                  <a:gd name="csY90" fmla="*/ 114562 h 17624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  <a:cxn ang="0">
                    <a:pos x="csX74" y="csY74"/>
                  </a:cxn>
                  <a:cxn ang="0">
                    <a:pos x="csX75" y="csY75"/>
                  </a:cxn>
                  <a:cxn ang="0">
                    <a:pos x="csX76" y="csY76"/>
                  </a:cxn>
                  <a:cxn ang="0">
                    <a:pos x="csX77" y="csY77"/>
                  </a:cxn>
                  <a:cxn ang="0">
                    <a:pos x="csX78" y="csY78"/>
                  </a:cxn>
                  <a:cxn ang="0">
                    <a:pos x="csX79" y="csY79"/>
                  </a:cxn>
                  <a:cxn ang="0">
                    <a:pos x="csX80" y="csY80"/>
                  </a:cxn>
                  <a:cxn ang="0">
                    <a:pos x="csX81" y="csY81"/>
                  </a:cxn>
                  <a:cxn ang="0">
                    <a:pos x="csX82" y="csY82"/>
                  </a:cxn>
                  <a:cxn ang="0">
                    <a:pos x="csX83" y="csY83"/>
                  </a:cxn>
                  <a:cxn ang="0">
                    <a:pos x="csX84" y="csY84"/>
                  </a:cxn>
                  <a:cxn ang="0">
                    <a:pos x="csX85" y="csY85"/>
                  </a:cxn>
                  <a:cxn ang="0">
                    <a:pos x="csX86" y="csY86"/>
                  </a:cxn>
                  <a:cxn ang="0">
                    <a:pos x="csX87" y="csY87"/>
                  </a:cxn>
                  <a:cxn ang="0">
                    <a:pos x="csX88" y="csY88"/>
                  </a:cxn>
                  <a:cxn ang="0">
                    <a:pos x="csX89" y="csY89"/>
                  </a:cxn>
                  <a:cxn ang="0">
                    <a:pos x="csX90" y="csY90"/>
                  </a:cxn>
                </a:cxnLst>
                <a:rect l="l" t="t" r="r" b="b"/>
                <a:pathLst>
                  <a:path w="215921" h="176244">
                    <a:moveTo>
                      <a:pt x="120276" y="45353"/>
                    </a:moveTo>
                    <a:lnTo>
                      <a:pt x="164336" y="1291"/>
                    </a:lnTo>
                    <a:lnTo>
                      <a:pt x="170569" y="7521"/>
                    </a:lnTo>
                    <a:lnTo>
                      <a:pt x="126506" y="51584"/>
                    </a:lnTo>
                    <a:close/>
                    <a:moveTo>
                      <a:pt x="136610" y="13219"/>
                    </a:moveTo>
                    <a:cubicBezTo>
                      <a:pt x="136610" y="5919"/>
                      <a:pt x="130691" y="0"/>
                      <a:pt x="123391" y="0"/>
                    </a:cubicBezTo>
                    <a:cubicBezTo>
                      <a:pt x="116091" y="0"/>
                      <a:pt x="110173" y="5919"/>
                      <a:pt x="110173" y="13219"/>
                    </a:cubicBezTo>
                    <a:cubicBezTo>
                      <a:pt x="110173" y="20519"/>
                      <a:pt x="116091" y="26437"/>
                      <a:pt x="123391" y="26437"/>
                    </a:cubicBezTo>
                    <a:cubicBezTo>
                      <a:pt x="130691" y="26437"/>
                      <a:pt x="136610" y="20519"/>
                      <a:pt x="136610" y="13219"/>
                    </a:cubicBezTo>
                    <a:close/>
                    <a:moveTo>
                      <a:pt x="118985" y="13219"/>
                    </a:moveTo>
                    <a:cubicBezTo>
                      <a:pt x="118985" y="10785"/>
                      <a:pt x="120958" y="8812"/>
                      <a:pt x="123391" y="8812"/>
                    </a:cubicBezTo>
                    <a:cubicBezTo>
                      <a:pt x="125825" y="8812"/>
                      <a:pt x="127797" y="10785"/>
                      <a:pt x="127797" y="13219"/>
                    </a:cubicBezTo>
                    <a:cubicBezTo>
                      <a:pt x="127797" y="15652"/>
                      <a:pt x="125825" y="17625"/>
                      <a:pt x="123391" y="17625"/>
                    </a:cubicBezTo>
                    <a:cubicBezTo>
                      <a:pt x="120958" y="17625"/>
                      <a:pt x="118985" y="15652"/>
                      <a:pt x="118985" y="13219"/>
                    </a:cubicBezTo>
                    <a:close/>
                    <a:moveTo>
                      <a:pt x="167453" y="26437"/>
                    </a:moveTo>
                    <a:cubicBezTo>
                      <a:pt x="160153" y="26437"/>
                      <a:pt x="154235" y="32356"/>
                      <a:pt x="154235" y="39656"/>
                    </a:cubicBezTo>
                    <a:cubicBezTo>
                      <a:pt x="154235" y="46956"/>
                      <a:pt x="160153" y="52875"/>
                      <a:pt x="167453" y="52875"/>
                    </a:cubicBezTo>
                    <a:cubicBezTo>
                      <a:pt x="174753" y="52875"/>
                      <a:pt x="180672" y="46956"/>
                      <a:pt x="180672" y="39656"/>
                    </a:cubicBezTo>
                    <a:cubicBezTo>
                      <a:pt x="180672" y="32356"/>
                      <a:pt x="174753" y="26437"/>
                      <a:pt x="167453" y="26437"/>
                    </a:cubicBezTo>
                    <a:close/>
                    <a:moveTo>
                      <a:pt x="167453" y="44062"/>
                    </a:moveTo>
                    <a:cubicBezTo>
                      <a:pt x="165020" y="44062"/>
                      <a:pt x="163047" y="42089"/>
                      <a:pt x="163047" y="39656"/>
                    </a:cubicBezTo>
                    <a:cubicBezTo>
                      <a:pt x="163047" y="37222"/>
                      <a:pt x="165020" y="35249"/>
                      <a:pt x="167453" y="35249"/>
                    </a:cubicBezTo>
                    <a:cubicBezTo>
                      <a:pt x="169887" y="35250"/>
                      <a:pt x="171859" y="37223"/>
                      <a:pt x="171859" y="39656"/>
                    </a:cubicBezTo>
                    <a:cubicBezTo>
                      <a:pt x="171858" y="42089"/>
                      <a:pt x="169886" y="44061"/>
                      <a:pt x="167453" y="44062"/>
                    </a:cubicBezTo>
                    <a:close/>
                    <a:moveTo>
                      <a:pt x="65951" y="73880"/>
                    </a:moveTo>
                    <a:cubicBezTo>
                      <a:pt x="64477" y="73527"/>
                      <a:pt x="62925" y="73963"/>
                      <a:pt x="61851" y="75032"/>
                    </a:cubicBezTo>
                    <a:lnTo>
                      <a:pt x="18845" y="117593"/>
                    </a:lnTo>
                    <a:lnTo>
                      <a:pt x="8388" y="123815"/>
                    </a:lnTo>
                    <a:cubicBezTo>
                      <a:pt x="1448" y="127851"/>
                      <a:pt x="-1685" y="136220"/>
                      <a:pt x="900" y="143824"/>
                    </a:cubicBezTo>
                    <a:cubicBezTo>
                      <a:pt x="2923" y="149988"/>
                      <a:pt x="8326" y="154427"/>
                      <a:pt x="14765" y="155218"/>
                    </a:cubicBezTo>
                    <a:lnTo>
                      <a:pt x="23943" y="173789"/>
                    </a:lnTo>
                    <a:cubicBezTo>
                      <a:pt x="24688" y="175298"/>
                      <a:pt x="26227" y="176251"/>
                      <a:pt x="27909" y="176244"/>
                    </a:cubicBezTo>
                    <a:lnTo>
                      <a:pt x="45243" y="176244"/>
                    </a:lnTo>
                    <a:cubicBezTo>
                      <a:pt x="46730" y="176246"/>
                      <a:pt x="48118" y="175498"/>
                      <a:pt x="48933" y="174254"/>
                    </a:cubicBezTo>
                    <a:cubicBezTo>
                      <a:pt x="49749" y="173010"/>
                      <a:pt x="49882" y="171440"/>
                      <a:pt x="49288" y="170076"/>
                    </a:cubicBezTo>
                    <a:lnTo>
                      <a:pt x="40166" y="149017"/>
                    </a:lnTo>
                    <a:lnTo>
                      <a:pt x="88066" y="149811"/>
                    </a:lnTo>
                    <a:lnTo>
                      <a:pt x="88141" y="149811"/>
                    </a:lnTo>
                    <a:cubicBezTo>
                      <a:pt x="89566" y="149811"/>
                      <a:pt x="90902" y="149123"/>
                      <a:pt x="91728" y="147963"/>
                    </a:cubicBezTo>
                    <a:cubicBezTo>
                      <a:pt x="92555" y="146803"/>
                      <a:pt x="92769" y="145314"/>
                      <a:pt x="92305" y="143968"/>
                    </a:cubicBezTo>
                    <a:lnTo>
                      <a:pt x="69116" y="76730"/>
                    </a:lnTo>
                    <a:cubicBezTo>
                      <a:pt x="68621" y="75299"/>
                      <a:pt x="67426" y="74222"/>
                      <a:pt x="65951" y="73879"/>
                    </a:cubicBezTo>
                    <a:close/>
                    <a:moveTo>
                      <a:pt x="9270" y="140998"/>
                    </a:moveTo>
                    <a:cubicBezTo>
                      <a:pt x="8031" y="137337"/>
                      <a:pt x="9544" y="133310"/>
                      <a:pt x="12887" y="131371"/>
                    </a:cubicBezTo>
                    <a:lnTo>
                      <a:pt x="19770" y="127287"/>
                    </a:lnTo>
                    <a:lnTo>
                      <a:pt x="27476" y="142528"/>
                    </a:lnTo>
                    <a:lnTo>
                      <a:pt x="20951" y="145757"/>
                    </a:lnTo>
                    <a:cubicBezTo>
                      <a:pt x="18762" y="146843"/>
                      <a:pt x="16210" y="146926"/>
                      <a:pt x="13955" y="145985"/>
                    </a:cubicBezTo>
                    <a:cubicBezTo>
                      <a:pt x="11739" y="145089"/>
                      <a:pt x="10027" y="143266"/>
                      <a:pt x="9271" y="140998"/>
                    </a:cubicBezTo>
                    <a:close/>
                    <a:moveTo>
                      <a:pt x="30650" y="167436"/>
                    </a:moveTo>
                    <a:lnTo>
                      <a:pt x="23987" y="153978"/>
                    </a:lnTo>
                    <a:cubicBezTo>
                      <a:pt x="24264" y="153856"/>
                      <a:pt x="24563" y="153808"/>
                      <a:pt x="24841" y="153671"/>
                    </a:cubicBezTo>
                    <a:lnTo>
                      <a:pt x="31197" y="150525"/>
                    </a:lnTo>
                    <a:lnTo>
                      <a:pt x="38518" y="167436"/>
                    </a:lnTo>
                    <a:close/>
                    <a:moveTo>
                      <a:pt x="36149" y="140157"/>
                    </a:moveTo>
                    <a:lnTo>
                      <a:pt x="26967" y="121977"/>
                    </a:lnTo>
                    <a:lnTo>
                      <a:pt x="63096" y="86224"/>
                    </a:lnTo>
                    <a:lnTo>
                      <a:pt x="81952" y="140897"/>
                    </a:lnTo>
                    <a:close/>
                    <a:moveTo>
                      <a:pt x="88847" y="106872"/>
                    </a:moveTo>
                    <a:lnTo>
                      <a:pt x="103419" y="101808"/>
                    </a:lnTo>
                    <a:lnTo>
                      <a:pt x="106308" y="110127"/>
                    </a:lnTo>
                    <a:lnTo>
                      <a:pt x="91739" y="115192"/>
                    </a:lnTo>
                    <a:close/>
                    <a:moveTo>
                      <a:pt x="77397" y="77580"/>
                    </a:moveTo>
                    <a:lnTo>
                      <a:pt x="87115" y="67451"/>
                    </a:lnTo>
                    <a:lnTo>
                      <a:pt x="93475" y="73552"/>
                    </a:lnTo>
                    <a:lnTo>
                      <a:pt x="83755" y="83681"/>
                    </a:lnTo>
                    <a:close/>
                    <a:moveTo>
                      <a:pt x="101360" y="136593"/>
                    </a:moveTo>
                    <a:lnTo>
                      <a:pt x="114579" y="136593"/>
                    </a:lnTo>
                    <a:lnTo>
                      <a:pt x="114579" y="145405"/>
                    </a:lnTo>
                    <a:lnTo>
                      <a:pt x="101360" y="145405"/>
                    </a:lnTo>
                    <a:close/>
                    <a:moveTo>
                      <a:pt x="211516" y="105749"/>
                    </a:moveTo>
                    <a:lnTo>
                      <a:pt x="202703" y="105749"/>
                    </a:lnTo>
                    <a:lnTo>
                      <a:pt x="202703" y="74906"/>
                    </a:lnTo>
                    <a:lnTo>
                      <a:pt x="193891" y="74906"/>
                    </a:lnTo>
                    <a:lnTo>
                      <a:pt x="193891" y="105749"/>
                    </a:lnTo>
                    <a:lnTo>
                      <a:pt x="185078" y="105749"/>
                    </a:lnTo>
                    <a:lnTo>
                      <a:pt x="185078" y="96937"/>
                    </a:lnTo>
                    <a:lnTo>
                      <a:pt x="176266" y="96937"/>
                    </a:lnTo>
                    <a:lnTo>
                      <a:pt x="176266" y="105749"/>
                    </a:lnTo>
                    <a:lnTo>
                      <a:pt x="127797" y="105749"/>
                    </a:lnTo>
                    <a:cubicBezTo>
                      <a:pt x="125364" y="105749"/>
                      <a:pt x="123391" y="107722"/>
                      <a:pt x="123391" y="110155"/>
                    </a:cubicBezTo>
                    <a:lnTo>
                      <a:pt x="123391" y="163030"/>
                    </a:lnTo>
                    <a:cubicBezTo>
                      <a:pt x="123391" y="165464"/>
                      <a:pt x="125364" y="167436"/>
                      <a:pt x="127797" y="167436"/>
                    </a:cubicBezTo>
                    <a:lnTo>
                      <a:pt x="211516" y="167436"/>
                    </a:lnTo>
                    <a:cubicBezTo>
                      <a:pt x="213949" y="167436"/>
                      <a:pt x="215922" y="165464"/>
                      <a:pt x="215922" y="163030"/>
                    </a:cubicBezTo>
                    <a:lnTo>
                      <a:pt x="215922" y="110155"/>
                    </a:lnTo>
                    <a:cubicBezTo>
                      <a:pt x="215922" y="107722"/>
                      <a:pt x="213949" y="105749"/>
                      <a:pt x="211516" y="105749"/>
                    </a:cubicBezTo>
                    <a:close/>
                    <a:moveTo>
                      <a:pt x="207109" y="158624"/>
                    </a:moveTo>
                    <a:lnTo>
                      <a:pt x="132204" y="158624"/>
                    </a:lnTo>
                    <a:lnTo>
                      <a:pt x="132204" y="114562"/>
                    </a:lnTo>
                    <a:lnTo>
                      <a:pt x="207109" y="114562"/>
                    </a:lnTo>
                    <a:close/>
                  </a:path>
                </a:pathLst>
              </a:custGeom>
              <a:grpFill/>
              <a:ln w="251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3" name="任意多边形: 形状 62"/>
              <p:cNvSpPr/>
              <p:nvPr/>
            </p:nvSpPr>
            <p:spPr>
              <a:xfrm>
                <a:off x="6594151" y="4290688"/>
                <a:ext cx="246748" cy="96936"/>
              </a:xfrm>
              <a:custGeom>
                <a:avLst/>
                <a:gdLst>
                  <a:gd name="csX0" fmla="*/ 189467 w 246748"/>
                  <a:gd name="csY0" fmla="*/ 70499 h 96936"/>
                  <a:gd name="csX1" fmla="*/ 207092 w 246748"/>
                  <a:gd name="csY1" fmla="*/ 70499 h 96936"/>
                  <a:gd name="csX2" fmla="*/ 207092 w 246748"/>
                  <a:gd name="csY2" fmla="*/ 79312 h 96936"/>
                  <a:gd name="csX3" fmla="*/ 189467 w 246748"/>
                  <a:gd name="csY3" fmla="*/ 79312 h 96936"/>
                  <a:gd name="csX4" fmla="*/ 215905 w 246748"/>
                  <a:gd name="csY4" fmla="*/ 70499 h 96936"/>
                  <a:gd name="csX5" fmla="*/ 246748 w 246748"/>
                  <a:gd name="csY5" fmla="*/ 70499 h 96936"/>
                  <a:gd name="csX6" fmla="*/ 246748 w 246748"/>
                  <a:gd name="csY6" fmla="*/ 79312 h 96936"/>
                  <a:gd name="csX7" fmla="*/ 215905 w 246748"/>
                  <a:gd name="csY7" fmla="*/ 79312 h 96936"/>
                  <a:gd name="csX8" fmla="*/ 189467 w 246748"/>
                  <a:gd name="csY8" fmla="*/ 88124 h 96936"/>
                  <a:gd name="csX9" fmla="*/ 246748 w 246748"/>
                  <a:gd name="csY9" fmla="*/ 88124 h 96936"/>
                  <a:gd name="csX10" fmla="*/ 246748 w 246748"/>
                  <a:gd name="csY10" fmla="*/ 96937 h 96936"/>
                  <a:gd name="csX11" fmla="*/ 189467 w 246748"/>
                  <a:gd name="csY11" fmla="*/ 96937 h 96936"/>
                  <a:gd name="csX12" fmla="*/ 4406 w 246748"/>
                  <a:gd name="csY12" fmla="*/ 44062 h 96936"/>
                  <a:gd name="csX13" fmla="*/ 70499 w 246748"/>
                  <a:gd name="csY13" fmla="*/ 44062 h 96936"/>
                  <a:gd name="csX14" fmla="*/ 74906 w 246748"/>
                  <a:gd name="csY14" fmla="*/ 39656 h 96936"/>
                  <a:gd name="csX15" fmla="*/ 74906 w 246748"/>
                  <a:gd name="csY15" fmla="*/ 4406 h 96936"/>
                  <a:gd name="csX16" fmla="*/ 70499 w 246748"/>
                  <a:gd name="csY16" fmla="*/ 0 h 96936"/>
                  <a:gd name="csX17" fmla="*/ 4406 w 246748"/>
                  <a:gd name="csY17" fmla="*/ 0 h 96936"/>
                  <a:gd name="csX18" fmla="*/ 0 w 246748"/>
                  <a:gd name="csY18" fmla="*/ 4406 h 96936"/>
                  <a:gd name="csX19" fmla="*/ 0 w 246748"/>
                  <a:gd name="csY19" fmla="*/ 39656 h 96936"/>
                  <a:gd name="csX20" fmla="*/ 4406 w 246748"/>
                  <a:gd name="csY20" fmla="*/ 44062 h 96936"/>
                  <a:gd name="csX21" fmla="*/ 8812 w 246748"/>
                  <a:gd name="csY21" fmla="*/ 8812 h 96936"/>
                  <a:gd name="csX22" fmla="*/ 66093 w 246748"/>
                  <a:gd name="csY22" fmla="*/ 8812 h 96936"/>
                  <a:gd name="csX23" fmla="*/ 66093 w 246748"/>
                  <a:gd name="csY23" fmla="*/ 35250 h 96936"/>
                  <a:gd name="csX24" fmla="*/ 8812 w 246748"/>
                  <a:gd name="csY24" fmla="*/ 35250 h 9693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</a:cxnLst>
                <a:rect l="l" t="t" r="r" b="b"/>
                <a:pathLst>
                  <a:path w="246748" h="96936">
                    <a:moveTo>
                      <a:pt x="189467" y="70499"/>
                    </a:moveTo>
                    <a:lnTo>
                      <a:pt x="207092" y="70499"/>
                    </a:lnTo>
                    <a:lnTo>
                      <a:pt x="207092" y="79312"/>
                    </a:lnTo>
                    <a:lnTo>
                      <a:pt x="189467" y="79312"/>
                    </a:lnTo>
                    <a:close/>
                    <a:moveTo>
                      <a:pt x="215905" y="70499"/>
                    </a:moveTo>
                    <a:lnTo>
                      <a:pt x="246748" y="70499"/>
                    </a:lnTo>
                    <a:lnTo>
                      <a:pt x="246748" y="79312"/>
                    </a:lnTo>
                    <a:lnTo>
                      <a:pt x="215905" y="79312"/>
                    </a:lnTo>
                    <a:close/>
                    <a:moveTo>
                      <a:pt x="189467" y="88124"/>
                    </a:moveTo>
                    <a:lnTo>
                      <a:pt x="246748" y="88124"/>
                    </a:lnTo>
                    <a:lnTo>
                      <a:pt x="246748" y="96937"/>
                    </a:lnTo>
                    <a:lnTo>
                      <a:pt x="189467" y="96937"/>
                    </a:lnTo>
                    <a:close/>
                    <a:moveTo>
                      <a:pt x="4406" y="44062"/>
                    </a:moveTo>
                    <a:lnTo>
                      <a:pt x="70499" y="44062"/>
                    </a:lnTo>
                    <a:cubicBezTo>
                      <a:pt x="72933" y="44062"/>
                      <a:pt x="74906" y="42089"/>
                      <a:pt x="74906" y="39656"/>
                    </a:cubicBezTo>
                    <a:lnTo>
                      <a:pt x="74906" y="4406"/>
                    </a:lnTo>
                    <a:cubicBezTo>
                      <a:pt x="74906" y="1973"/>
                      <a:pt x="72933" y="0"/>
                      <a:pt x="70499" y="0"/>
                    </a:cubicBezTo>
                    <a:lnTo>
                      <a:pt x="4406" y="0"/>
                    </a:lnTo>
                    <a:cubicBezTo>
                      <a:pt x="1973" y="0"/>
                      <a:pt x="0" y="1973"/>
                      <a:pt x="0" y="4406"/>
                    </a:cubicBezTo>
                    <a:lnTo>
                      <a:pt x="0" y="39656"/>
                    </a:lnTo>
                    <a:cubicBezTo>
                      <a:pt x="0" y="42089"/>
                      <a:pt x="1973" y="44062"/>
                      <a:pt x="4406" y="44062"/>
                    </a:cubicBezTo>
                    <a:close/>
                    <a:moveTo>
                      <a:pt x="8812" y="8812"/>
                    </a:moveTo>
                    <a:lnTo>
                      <a:pt x="66093" y="8812"/>
                    </a:lnTo>
                    <a:lnTo>
                      <a:pt x="66093" y="35250"/>
                    </a:lnTo>
                    <a:lnTo>
                      <a:pt x="8812" y="35250"/>
                    </a:lnTo>
                    <a:close/>
                  </a:path>
                </a:pathLst>
              </a:custGeom>
              <a:grpFill/>
              <a:ln w="251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4" name="任意多边形: 形状 63"/>
              <p:cNvSpPr/>
              <p:nvPr/>
            </p:nvSpPr>
            <p:spPr>
              <a:xfrm>
                <a:off x="6611775" y="4308312"/>
                <a:ext cx="39655" cy="8812"/>
              </a:xfrm>
              <a:custGeom>
                <a:avLst/>
                <a:gdLst>
                  <a:gd name="csX0" fmla="*/ 0 w 39655"/>
                  <a:gd name="csY0" fmla="*/ 0 h 8812"/>
                  <a:gd name="csX1" fmla="*/ 8812 w 39655"/>
                  <a:gd name="csY1" fmla="*/ 0 h 8812"/>
                  <a:gd name="csX2" fmla="*/ 8812 w 39655"/>
                  <a:gd name="csY2" fmla="*/ 8812 h 8812"/>
                  <a:gd name="csX3" fmla="*/ 0 w 39655"/>
                  <a:gd name="csY3" fmla="*/ 8812 h 8812"/>
                  <a:gd name="csX4" fmla="*/ 17625 w 39655"/>
                  <a:gd name="csY4" fmla="*/ 0 h 8812"/>
                  <a:gd name="csX5" fmla="*/ 39656 w 39655"/>
                  <a:gd name="csY5" fmla="*/ 0 h 8812"/>
                  <a:gd name="csX6" fmla="*/ 39656 w 39655"/>
                  <a:gd name="csY6" fmla="*/ 8812 h 8812"/>
                  <a:gd name="csX7" fmla="*/ 17625 w 39655"/>
                  <a:gd name="csY7" fmla="*/ 8812 h 881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39655" h="8812">
                    <a:moveTo>
                      <a:pt x="0" y="0"/>
                    </a:moveTo>
                    <a:lnTo>
                      <a:pt x="8812" y="0"/>
                    </a:lnTo>
                    <a:lnTo>
                      <a:pt x="8812" y="8812"/>
                    </a:lnTo>
                    <a:lnTo>
                      <a:pt x="0" y="8812"/>
                    </a:lnTo>
                    <a:close/>
                    <a:moveTo>
                      <a:pt x="17625" y="0"/>
                    </a:moveTo>
                    <a:lnTo>
                      <a:pt x="39656" y="0"/>
                    </a:lnTo>
                    <a:lnTo>
                      <a:pt x="39656" y="8812"/>
                    </a:lnTo>
                    <a:lnTo>
                      <a:pt x="17625" y="8812"/>
                    </a:lnTo>
                    <a:close/>
                  </a:path>
                </a:pathLst>
              </a:custGeom>
              <a:grpFill/>
              <a:ln w="251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67" name="文本框 66"/>
          <p:cNvSpPr txBox="1"/>
          <p:nvPr>
            <p:custDataLst>
              <p:tags r:id="rId3"/>
            </p:custDataLst>
          </p:nvPr>
        </p:nvSpPr>
        <p:spPr>
          <a:xfrm>
            <a:off x="374650" y="1819269"/>
            <a:ext cx="5276488" cy="1505367"/>
          </a:xfrm>
          <a:prstGeom prst="roundRect">
            <a:avLst>
              <a:gd name="adj" fmla="val 6598"/>
            </a:avLst>
          </a:prstGeom>
          <a:solidFill>
            <a:schemeClr val="bg1"/>
          </a:solidFill>
          <a:ln w="12700">
            <a:solidFill>
              <a:srgbClr val="0971CA"/>
            </a:solidFill>
          </a:ln>
        </p:spPr>
        <p:txBody>
          <a:bodyPr wrap="square" anchor="ctr">
            <a:no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504825" y="1977390"/>
            <a:ext cx="4985385" cy="11239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60000"/>
              </a:lnSpc>
              <a:buFont typeface="Wingdings" panose="05000000000000000000" charset="0"/>
              <a:buNone/>
            </a:pPr>
            <a:r>
              <a:rPr lang="zh-CN" altLang="en-US" sz="1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多</a:t>
            </a:r>
            <a:r>
              <a:rPr lang="zh-CN" altLang="en-US" sz="1400">
                <a:solidFill>
                  <a:schemeClr val="tx1"/>
                </a:solidFill>
                <a:latin typeface="+mn-ea"/>
              </a:rPr>
              <a:t>数同类产品无幼儿适应症，本品全年龄段（幼儿、成人、老年人）统一剂量，无需减量，</a:t>
            </a:r>
            <a:r>
              <a:rPr lang="zh-CN" altLang="en-US" sz="1400" b="1">
                <a:solidFill>
                  <a:srgbClr val="E1007F"/>
                </a:solidFill>
                <a:latin typeface="+mn-ea"/>
              </a:rPr>
              <a:t>填补过敏性结膜炎幼儿用药空白（国内儿科指南缺口品种）</a:t>
            </a:r>
            <a:r>
              <a:rPr lang="zh-CN" altLang="en-US" sz="1400">
                <a:solidFill>
                  <a:schemeClr val="tx1"/>
                </a:solidFill>
                <a:latin typeface="+mn-ea"/>
              </a:rPr>
              <a:t>，</a:t>
            </a:r>
            <a:r>
              <a:rPr lang="en-US" altLang="zh-CN" sz="1400">
                <a:solidFill>
                  <a:schemeClr val="tx1"/>
                </a:solidFill>
                <a:latin typeface="+mn-ea"/>
              </a:rPr>
              <a:t>CDE</a:t>
            </a:r>
            <a:r>
              <a:rPr lang="zh-CN" altLang="en-US" sz="1400">
                <a:solidFill>
                  <a:schemeClr val="tx1"/>
                </a:solidFill>
                <a:latin typeface="+mn-ea"/>
              </a:rPr>
              <a:t>审评纳入优先审评品种</a:t>
            </a:r>
            <a:endParaRPr lang="zh-CN" altLang="en-US" sz="140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" name="文本框 71"/>
          <p:cNvSpPr txBox="1"/>
          <p:nvPr>
            <p:custDataLst>
              <p:tags r:id="rId4"/>
            </p:custDataLst>
          </p:nvPr>
        </p:nvSpPr>
        <p:spPr>
          <a:xfrm>
            <a:off x="6513698" y="1819269"/>
            <a:ext cx="5276345" cy="1505367"/>
          </a:xfrm>
          <a:prstGeom prst="roundRect">
            <a:avLst>
              <a:gd name="adj" fmla="val 6598"/>
            </a:avLst>
          </a:prstGeom>
          <a:solidFill>
            <a:schemeClr val="bg1"/>
          </a:solidFill>
          <a:ln w="12700">
            <a:solidFill>
              <a:srgbClr val="0971CA"/>
            </a:solidFill>
          </a:ln>
        </p:spPr>
        <p:txBody>
          <a:bodyPr wrap="square" anchor="ctr">
            <a:no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6668507" y="1898499"/>
            <a:ext cx="3671320" cy="1383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甘油 </a:t>
            </a:r>
            <a:r>
              <a:rPr lang="en-US" altLang="zh-CN" sz="14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+ HPMC</a:t>
            </a:r>
            <a:r>
              <a:rPr lang="zh-CN" altLang="en-US" sz="14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人工泪液基质</a:t>
            </a:r>
            <a:r>
              <a:rPr lang="zh-CN" altLang="en-US" sz="1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：在抗过敏同时兼具润眼功效，合并干眼的过敏性结膜炎无需额外搭配人工泪液，简化用药方案；中性生理</a:t>
            </a:r>
            <a:r>
              <a:rPr lang="en-US" altLang="zh-CN" sz="1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pH</a:t>
            </a:r>
            <a:r>
              <a:rPr lang="zh-CN" altLang="en-US" sz="1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显著降低滴眼刺激感</a:t>
            </a: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pic>
        <p:nvPicPr>
          <p:cNvPr id="74" name="图片 7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0810" y="2016214"/>
            <a:ext cx="1175546" cy="856283"/>
          </a:xfrm>
          <a:prstGeom prst="rect">
            <a:avLst/>
          </a:prstGeom>
        </p:spPr>
      </p:pic>
      <p:sp>
        <p:nvSpPr>
          <p:cNvPr id="75" name="文本框 74"/>
          <p:cNvSpPr txBox="1"/>
          <p:nvPr/>
        </p:nvSpPr>
        <p:spPr>
          <a:xfrm>
            <a:off x="10400810" y="2893981"/>
            <a:ext cx="1110743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indent="0" algn="ctr">
              <a:buFont typeface="Wingdings" panose="05000000000000000000" charset="0"/>
              <a:buNone/>
            </a:pPr>
            <a:r>
              <a:rPr lang="zh-CN" altLang="en-US" sz="105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*显微镜下胶束</a:t>
            </a:r>
            <a:endParaRPr lang="zh-CN" altLang="en-US" sz="105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84" name="文本框 83"/>
          <p:cNvSpPr txBox="1"/>
          <p:nvPr>
            <p:custDataLst>
              <p:tags r:id="rId6"/>
            </p:custDataLst>
          </p:nvPr>
        </p:nvSpPr>
        <p:spPr>
          <a:xfrm>
            <a:off x="374650" y="4098704"/>
            <a:ext cx="5276488" cy="1719557"/>
          </a:xfrm>
          <a:prstGeom prst="roundRect">
            <a:avLst>
              <a:gd name="adj" fmla="val 6598"/>
            </a:avLst>
          </a:prstGeom>
          <a:solidFill>
            <a:schemeClr val="bg1"/>
          </a:solidFill>
          <a:ln w="12700">
            <a:solidFill>
              <a:srgbClr val="0971CA"/>
            </a:solidFill>
          </a:ln>
        </p:spPr>
        <p:txBody>
          <a:bodyPr wrap="square" anchor="ctr">
            <a:no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85" name="文本框 84"/>
          <p:cNvSpPr txBox="1"/>
          <p:nvPr>
            <p:custDataLst>
              <p:tags r:id="rId7"/>
            </p:custDataLst>
          </p:nvPr>
        </p:nvSpPr>
        <p:spPr>
          <a:xfrm>
            <a:off x="6513698" y="4098704"/>
            <a:ext cx="5276345" cy="1719557"/>
          </a:xfrm>
          <a:prstGeom prst="roundRect">
            <a:avLst>
              <a:gd name="adj" fmla="val 6598"/>
            </a:avLst>
          </a:prstGeom>
          <a:solidFill>
            <a:schemeClr val="bg1"/>
          </a:solidFill>
          <a:ln w="12700">
            <a:solidFill>
              <a:srgbClr val="0971CA"/>
            </a:solidFill>
          </a:ln>
        </p:spPr>
        <p:txBody>
          <a:bodyPr wrap="square" anchor="ctr">
            <a:no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86" name="文本框 85"/>
          <p:cNvSpPr txBox="1"/>
          <p:nvPr/>
        </p:nvSpPr>
        <p:spPr>
          <a:xfrm>
            <a:off x="6668770" y="4208145"/>
            <a:ext cx="4974590" cy="1060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常规滴眼液仅改善眼部症状，本品经临床试验证实可同步减轻过敏性结膜炎伴随鼻痒、鼻塞、咽痒、耳痒等鼻眼综合征表现，减少口服抗过敏药联用频次，优化整体过敏管理方案</a:t>
            </a:r>
            <a:endParaRPr lang="zh-CN" altLang="en-US" sz="14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grpSp>
        <p:nvGrpSpPr>
          <p:cNvPr id="171" name="组合 170"/>
          <p:cNvGrpSpPr/>
          <p:nvPr/>
        </p:nvGrpSpPr>
        <p:grpSpPr>
          <a:xfrm>
            <a:off x="6668507" y="5303885"/>
            <a:ext cx="5058126" cy="455617"/>
            <a:chOff x="6588234" y="5324475"/>
            <a:chExt cx="5058126" cy="455617"/>
          </a:xfrm>
        </p:grpSpPr>
        <p:grpSp>
          <p:nvGrpSpPr>
            <p:cNvPr id="167" name="组合 166"/>
            <p:cNvGrpSpPr/>
            <p:nvPr/>
          </p:nvGrpSpPr>
          <p:grpSpPr>
            <a:xfrm>
              <a:off x="6588234" y="5324475"/>
              <a:ext cx="1226415" cy="455617"/>
              <a:chOff x="6588234" y="5324475"/>
              <a:chExt cx="1226415" cy="455617"/>
            </a:xfrm>
          </p:grpSpPr>
          <p:grpSp>
            <p:nvGrpSpPr>
              <p:cNvPr id="128" name="组合 127"/>
              <p:cNvGrpSpPr/>
              <p:nvPr/>
            </p:nvGrpSpPr>
            <p:grpSpPr>
              <a:xfrm>
                <a:off x="6588234" y="5324475"/>
                <a:ext cx="455617" cy="455617"/>
                <a:chOff x="6588234" y="5324475"/>
                <a:chExt cx="455617" cy="455617"/>
              </a:xfrm>
            </p:grpSpPr>
            <p:sp>
              <p:nvSpPr>
                <p:cNvPr id="117" name="椭圆 116"/>
                <p:cNvSpPr/>
                <p:nvPr/>
              </p:nvSpPr>
              <p:spPr>
                <a:xfrm>
                  <a:off x="6588234" y="5324475"/>
                  <a:ext cx="455617" cy="455617"/>
                </a:xfrm>
                <a:prstGeom prst="ellipse">
                  <a:avLst/>
                </a:prstGeom>
                <a:solidFill>
                  <a:srgbClr val="EFF7F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123" name="组合 122"/>
                <p:cNvGrpSpPr/>
                <p:nvPr/>
              </p:nvGrpSpPr>
              <p:grpSpPr>
                <a:xfrm>
                  <a:off x="6695812" y="5429473"/>
                  <a:ext cx="252799" cy="242289"/>
                  <a:chOff x="12621498" y="5920640"/>
                  <a:chExt cx="366524" cy="351286"/>
                </a:xfrm>
              </p:grpSpPr>
              <p:sp>
                <p:nvSpPr>
                  <p:cNvPr id="124" name="任意多边形: 形状 123"/>
                  <p:cNvSpPr/>
                  <p:nvPr/>
                </p:nvSpPr>
                <p:spPr>
                  <a:xfrm>
                    <a:off x="12621498" y="5920640"/>
                    <a:ext cx="302401" cy="351286"/>
                  </a:xfrm>
                  <a:custGeom>
                    <a:avLst/>
                    <a:gdLst>
                      <a:gd name="csX0" fmla="*/ 153487 w 347213"/>
                      <a:gd name="csY0" fmla="*/ 281195 h 403342"/>
                      <a:gd name="csX1" fmla="*/ 149099 w 347213"/>
                      <a:gd name="csY1" fmla="*/ 277068 h 403342"/>
                      <a:gd name="csX2" fmla="*/ 149145 w 347213"/>
                      <a:gd name="csY2" fmla="*/ 263934 h 403342"/>
                      <a:gd name="csX3" fmla="*/ 207034 w 347213"/>
                      <a:gd name="csY3" fmla="*/ 262139 h 403342"/>
                      <a:gd name="csX4" fmla="*/ 208001 w 347213"/>
                      <a:gd name="csY4" fmla="*/ 277559 h 403342"/>
                      <a:gd name="csX5" fmla="*/ 209811 w 347213"/>
                      <a:gd name="csY5" fmla="*/ 283451 h 403342"/>
                      <a:gd name="csX6" fmla="*/ 276569 w 347213"/>
                      <a:gd name="csY6" fmla="*/ 225653 h 403342"/>
                      <a:gd name="csX7" fmla="*/ 265522 w 347213"/>
                      <a:gd name="csY7" fmla="*/ 191653 h 403342"/>
                      <a:gd name="csX8" fmla="*/ 212235 w 347213"/>
                      <a:gd name="csY8" fmla="*/ 28556 h 403342"/>
                      <a:gd name="csX9" fmla="*/ 210256 w 347213"/>
                      <a:gd name="csY9" fmla="*/ 12600 h 403342"/>
                      <a:gd name="csX10" fmla="*/ 217882 w 347213"/>
                      <a:gd name="csY10" fmla="*/ 218 h 403342"/>
                      <a:gd name="csX11" fmla="*/ 230708 w 347213"/>
                      <a:gd name="csY11" fmla="*/ 9715 h 403342"/>
                      <a:gd name="csX12" fmla="*/ 233639 w 347213"/>
                      <a:gd name="csY12" fmla="*/ 27835 h 403342"/>
                      <a:gd name="csX13" fmla="*/ 276323 w 347213"/>
                      <a:gd name="csY13" fmla="*/ 167979 h 403342"/>
                      <a:gd name="csX14" fmla="*/ 294551 w 347213"/>
                      <a:gd name="csY14" fmla="*/ 213271 h 403342"/>
                      <a:gd name="csX15" fmla="*/ 248967 w 347213"/>
                      <a:gd name="csY15" fmla="*/ 299515 h 403342"/>
                      <a:gd name="csX16" fmla="*/ 238457 w 347213"/>
                      <a:gd name="csY16" fmla="*/ 303888 h 403342"/>
                      <a:gd name="csX17" fmla="*/ 243765 w 347213"/>
                      <a:gd name="csY17" fmla="*/ 306726 h 403342"/>
                      <a:gd name="csX18" fmla="*/ 344354 w 347213"/>
                      <a:gd name="csY18" fmla="*/ 382935 h 403342"/>
                      <a:gd name="csX19" fmla="*/ 347086 w 347213"/>
                      <a:gd name="csY19" fmla="*/ 393062 h 403342"/>
                      <a:gd name="csX20" fmla="*/ 332540 w 347213"/>
                      <a:gd name="csY20" fmla="*/ 398969 h 403342"/>
                      <a:gd name="csX21" fmla="*/ 324485 w 347213"/>
                      <a:gd name="csY21" fmla="*/ 389793 h 403342"/>
                      <a:gd name="csX22" fmla="*/ 233286 w 347213"/>
                      <a:gd name="csY22" fmla="*/ 323235 h 403342"/>
                      <a:gd name="csX23" fmla="*/ 214491 w 347213"/>
                      <a:gd name="csY23" fmla="*/ 311651 h 403342"/>
                      <a:gd name="csX24" fmla="*/ 150203 w 347213"/>
                      <a:gd name="csY24" fmla="*/ 306788 h 403342"/>
                      <a:gd name="csX25" fmla="*/ 98850 w 347213"/>
                      <a:gd name="csY25" fmla="*/ 331674 h 403342"/>
                      <a:gd name="csX26" fmla="*/ 24313 w 347213"/>
                      <a:gd name="csY26" fmla="*/ 390054 h 403342"/>
                      <a:gd name="csX27" fmla="*/ 16765 w 347213"/>
                      <a:gd name="csY27" fmla="*/ 399720 h 403342"/>
                      <a:gd name="csX28" fmla="*/ 4552 w 347213"/>
                      <a:gd name="csY28" fmla="*/ 401301 h 403342"/>
                      <a:gd name="csX29" fmla="*/ 1084 w 347213"/>
                      <a:gd name="csY29" fmla="*/ 389210 h 403342"/>
                      <a:gd name="csX30" fmla="*/ 13297 w 347213"/>
                      <a:gd name="csY30" fmla="*/ 371612 h 403342"/>
                      <a:gd name="csX31" fmla="*/ 95735 w 347213"/>
                      <a:gd name="csY31" fmla="*/ 310976 h 403342"/>
                      <a:gd name="csX32" fmla="*/ 121236 w 347213"/>
                      <a:gd name="csY32" fmla="*/ 304271 h 403342"/>
                      <a:gd name="csX33" fmla="*/ 117921 w 347213"/>
                      <a:gd name="csY33" fmla="*/ 301325 h 403342"/>
                      <a:gd name="csX34" fmla="*/ 69069 w 347213"/>
                      <a:gd name="csY34" fmla="*/ 202761 h 403342"/>
                      <a:gd name="csX35" fmla="*/ 87849 w 347213"/>
                      <a:gd name="csY35" fmla="*/ 170372 h 403342"/>
                      <a:gd name="csX36" fmla="*/ 96932 w 347213"/>
                      <a:gd name="csY36" fmla="*/ 163775 h 403342"/>
                      <a:gd name="csX37" fmla="*/ 105770 w 347213"/>
                      <a:gd name="csY37" fmla="*/ 167058 h 403342"/>
                      <a:gd name="csX38" fmla="*/ 105908 w 347213"/>
                      <a:gd name="csY38" fmla="*/ 177890 h 403342"/>
                      <a:gd name="csX39" fmla="*/ 93250 w 347213"/>
                      <a:gd name="csY39" fmla="*/ 197990 h 403342"/>
                      <a:gd name="csX40" fmla="*/ 94738 w 347213"/>
                      <a:gd name="csY40" fmla="*/ 264180 h 403342"/>
                      <a:gd name="csX41" fmla="*/ 153487 w 347213"/>
                      <a:gd name="csY41" fmla="*/ 281195 h 40334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  <a:cxn ang="0">
                        <a:pos x="csX12" y="csY12"/>
                      </a:cxn>
                      <a:cxn ang="0">
                        <a:pos x="csX13" y="csY13"/>
                      </a:cxn>
                      <a:cxn ang="0">
                        <a:pos x="csX14" y="csY14"/>
                      </a:cxn>
                      <a:cxn ang="0">
                        <a:pos x="csX15" y="csY15"/>
                      </a:cxn>
                      <a:cxn ang="0">
                        <a:pos x="csX16" y="csY16"/>
                      </a:cxn>
                      <a:cxn ang="0">
                        <a:pos x="csX17" y="csY17"/>
                      </a:cxn>
                      <a:cxn ang="0">
                        <a:pos x="csX18" y="csY18"/>
                      </a:cxn>
                      <a:cxn ang="0">
                        <a:pos x="csX19" y="csY19"/>
                      </a:cxn>
                      <a:cxn ang="0">
                        <a:pos x="csX20" y="csY20"/>
                      </a:cxn>
                      <a:cxn ang="0">
                        <a:pos x="csX21" y="csY21"/>
                      </a:cxn>
                      <a:cxn ang="0">
                        <a:pos x="csX22" y="csY22"/>
                      </a:cxn>
                      <a:cxn ang="0">
                        <a:pos x="csX23" y="csY23"/>
                      </a:cxn>
                      <a:cxn ang="0">
                        <a:pos x="csX24" y="csY24"/>
                      </a:cxn>
                      <a:cxn ang="0">
                        <a:pos x="csX25" y="csY25"/>
                      </a:cxn>
                      <a:cxn ang="0">
                        <a:pos x="csX26" y="csY26"/>
                      </a:cxn>
                      <a:cxn ang="0">
                        <a:pos x="csX27" y="csY27"/>
                      </a:cxn>
                      <a:cxn ang="0">
                        <a:pos x="csX28" y="csY28"/>
                      </a:cxn>
                      <a:cxn ang="0">
                        <a:pos x="csX29" y="csY29"/>
                      </a:cxn>
                      <a:cxn ang="0">
                        <a:pos x="csX30" y="csY30"/>
                      </a:cxn>
                      <a:cxn ang="0">
                        <a:pos x="csX31" y="csY31"/>
                      </a:cxn>
                      <a:cxn ang="0">
                        <a:pos x="csX32" y="csY32"/>
                      </a:cxn>
                      <a:cxn ang="0">
                        <a:pos x="csX33" y="csY33"/>
                      </a:cxn>
                      <a:cxn ang="0">
                        <a:pos x="csX34" y="csY34"/>
                      </a:cxn>
                      <a:cxn ang="0">
                        <a:pos x="csX35" y="csY35"/>
                      </a:cxn>
                      <a:cxn ang="0">
                        <a:pos x="csX36" y="csY36"/>
                      </a:cxn>
                      <a:cxn ang="0">
                        <a:pos x="csX37" y="csY37"/>
                      </a:cxn>
                      <a:cxn ang="0">
                        <a:pos x="csX38" y="csY38"/>
                      </a:cxn>
                      <a:cxn ang="0">
                        <a:pos x="csX39" y="csY39"/>
                      </a:cxn>
                      <a:cxn ang="0">
                        <a:pos x="csX40" y="csY40"/>
                      </a:cxn>
                      <a:cxn ang="0">
                        <a:pos x="csX41" y="csY41"/>
                      </a:cxn>
                    </a:cxnLst>
                    <a:rect l="l" t="t" r="r" b="b"/>
                    <a:pathLst>
                      <a:path w="347213" h="403342">
                        <a:moveTo>
                          <a:pt x="153487" y="281195"/>
                        </a:moveTo>
                        <a:cubicBezTo>
                          <a:pt x="151615" y="279431"/>
                          <a:pt x="150403" y="278203"/>
                          <a:pt x="149099" y="277068"/>
                        </a:cubicBezTo>
                        <a:cubicBezTo>
                          <a:pt x="144035" y="272664"/>
                          <a:pt x="144864" y="268338"/>
                          <a:pt x="149145" y="263934"/>
                        </a:cubicBezTo>
                        <a:cubicBezTo>
                          <a:pt x="161296" y="251445"/>
                          <a:pt x="194345" y="250402"/>
                          <a:pt x="207034" y="262139"/>
                        </a:cubicBezTo>
                        <a:cubicBezTo>
                          <a:pt x="213079" y="267724"/>
                          <a:pt x="213463" y="271406"/>
                          <a:pt x="208001" y="277559"/>
                        </a:cubicBezTo>
                        <a:cubicBezTo>
                          <a:pt x="204947" y="280996"/>
                          <a:pt x="205131" y="282530"/>
                          <a:pt x="209811" y="283451"/>
                        </a:cubicBezTo>
                        <a:cubicBezTo>
                          <a:pt x="245069" y="290370"/>
                          <a:pt x="280021" y="263888"/>
                          <a:pt x="276569" y="225653"/>
                        </a:cubicBezTo>
                        <a:cubicBezTo>
                          <a:pt x="275464" y="213394"/>
                          <a:pt x="271460" y="202148"/>
                          <a:pt x="265522" y="191653"/>
                        </a:cubicBezTo>
                        <a:cubicBezTo>
                          <a:pt x="236846" y="140837"/>
                          <a:pt x="221794" y="85602"/>
                          <a:pt x="212235" y="28556"/>
                        </a:cubicBezTo>
                        <a:cubicBezTo>
                          <a:pt x="211345" y="23278"/>
                          <a:pt x="210578" y="17939"/>
                          <a:pt x="210256" y="12600"/>
                        </a:cubicBezTo>
                        <a:cubicBezTo>
                          <a:pt x="209918" y="6892"/>
                          <a:pt x="211192" y="1706"/>
                          <a:pt x="217882" y="218"/>
                        </a:cubicBezTo>
                        <a:cubicBezTo>
                          <a:pt x="223328" y="-994"/>
                          <a:pt x="229067" y="2949"/>
                          <a:pt x="230708" y="9715"/>
                        </a:cubicBezTo>
                        <a:cubicBezTo>
                          <a:pt x="232151" y="15637"/>
                          <a:pt x="232596" y="21805"/>
                          <a:pt x="233639" y="27835"/>
                        </a:cubicBezTo>
                        <a:cubicBezTo>
                          <a:pt x="242062" y="76319"/>
                          <a:pt x="252787" y="124159"/>
                          <a:pt x="276323" y="167979"/>
                        </a:cubicBezTo>
                        <a:cubicBezTo>
                          <a:pt x="284118" y="182478"/>
                          <a:pt x="291237" y="197008"/>
                          <a:pt x="294551" y="213271"/>
                        </a:cubicBezTo>
                        <a:cubicBezTo>
                          <a:pt x="302360" y="251522"/>
                          <a:pt x="285130" y="284325"/>
                          <a:pt x="248967" y="299515"/>
                        </a:cubicBezTo>
                        <a:cubicBezTo>
                          <a:pt x="245484" y="300988"/>
                          <a:pt x="241970" y="302430"/>
                          <a:pt x="238457" y="303888"/>
                        </a:cubicBezTo>
                        <a:cubicBezTo>
                          <a:pt x="239531" y="306956"/>
                          <a:pt x="242001" y="306174"/>
                          <a:pt x="243765" y="306726"/>
                        </a:cubicBezTo>
                        <a:cubicBezTo>
                          <a:pt x="286450" y="320059"/>
                          <a:pt x="319453" y="346158"/>
                          <a:pt x="344354" y="382935"/>
                        </a:cubicBezTo>
                        <a:cubicBezTo>
                          <a:pt x="346426" y="385988"/>
                          <a:pt x="347622" y="389303"/>
                          <a:pt x="347086" y="393062"/>
                        </a:cubicBezTo>
                        <a:cubicBezTo>
                          <a:pt x="345935" y="401040"/>
                          <a:pt x="338616" y="404155"/>
                          <a:pt x="332540" y="398969"/>
                        </a:cubicBezTo>
                        <a:cubicBezTo>
                          <a:pt x="329472" y="396360"/>
                          <a:pt x="326863" y="393092"/>
                          <a:pt x="324485" y="389793"/>
                        </a:cubicBezTo>
                        <a:cubicBezTo>
                          <a:pt x="301317" y="357665"/>
                          <a:pt x="271398" y="334865"/>
                          <a:pt x="233286" y="323235"/>
                        </a:cubicBezTo>
                        <a:cubicBezTo>
                          <a:pt x="225998" y="321011"/>
                          <a:pt x="220214" y="316377"/>
                          <a:pt x="214491" y="311651"/>
                        </a:cubicBezTo>
                        <a:cubicBezTo>
                          <a:pt x="196140" y="296462"/>
                          <a:pt x="170073" y="293516"/>
                          <a:pt x="150203" y="306788"/>
                        </a:cubicBezTo>
                        <a:cubicBezTo>
                          <a:pt x="134062" y="317574"/>
                          <a:pt x="116725" y="324693"/>
                          <a:pt x="98850" y="331674"/>
                        </a:cubicBezTo>
                        <a:cubicBezTo>
                          <a:pt x="68394" y="343580"/>
                          <a:pt x="44183" y="364232"/>
                          <a:pt x="24313" y="390054"/>
                        </a:cubicBezTo>
                        <a:cubicBezTo>
                          <a:pt x="21828" y="393292"/>
                          <a:pt x="19388" y="396590"/>
                          <a:pt x="16765" y="399720"/>
                        </a:cubicBezTo>
                        <a:cubicBezTo>
                          <a:pt x="13236" y="403924"/>
                          <a:pt x="8924" y="404492"/>
                          <a:pt x="4552" y="401301"/>
                        </a:cubicBezTo>
                        <a:cubicBezTo>
                          <a:pt x="409" y="398294"/>
                          <a:pt x="-1294" y="394151"/>
                          <a:pt x="1084" y="389210"/>
                        </a:cubicBezTo>
                        <a:cubicBezTo>
                          <a:pt x="4229" y="382720"/>
                          <a:pt x="8802" y="377166"/>
                          <a:pt x="13297" y="371612"/>
                        </a:cubicBezTo>
                        <a:cubicBezTo>
                          <a:pt x="35498" y="344225"/>
                          <a:pt x="62947" y="323987"/>
                          <a:pt x="95735" y="310976"/>
                        </a:cubicBezTo>
                        <a:cubicBezTo>
                          <a:pt x="103929" y="307723"/>
                          <a:pt x="112812" y="306818"/>
                          <a:pt x="121236" y="304271"/>
                        </a:cubicBezTo>
                        <a:cubicBezTo>
                          <a:pt x="120422" y="301878"/>
                          <a:pt x="119103" y="301617"/>
                          <a:pt x="117921" y="301325"/>
                        </a:cubicBezTo>
                        <a:cubicBezTo>
                          <a:pt x="72844" y="290278"/>
                          <a:pt x="51747" y="245078"/>
                          <a:pt x="69069" y="202761"/>
                        </a:cubicBezTo>
                        <a:cubicBezTo>
                          <a:pt x="73841" y="191116"/>
                          <a:pt x="79993" y="180238"/>
                          <a:pt x="87849" y="170372"/>
                        </a:cubicBezTo>
                        <a:cubicBezTo>
                          <a:pt x="90258" y="167365"/>
                          <a:pt x="92836" y="164450"/>
                          <a:pt x="96932" y="163775"/>
                        </a:cubicBezTo>
                        <a:cubicBezTo>
                          <a:pt x="100461" y="163192"/>
                          <a:pt x="103560" y="164036"/>
                          <a:pt x="105770" y="167058"/>
                        </a:cubicBezTo>
                        <a:cubicBezTo>
                          <a:pt x="108363" y="170602"/>
                          <a:pt x="108010" y="174408"/>
                          <a:pt x="105908" y="177890"/>
                        </a:cubicBezTo>
                        <a:cubicBezTo>
                          <a:pt x="101811" y="184672"/>
                          <a:pt x="97070" y="191070"/>
                          <a:pt x="93250" y="197990"/>
                        </a:cubicBezTo>
                        <a:cubicBezTo>
                          <a:pt x="80945" y="220268"/>
                          <a:pt x="78720" y="242531"/>
                          <a:pt x="94738" y="264180"/>
                        </a:cubicBezTo>
                        <a:cubicBezTo>
                          <a:pt x="106138" y="279584"/>
                          <a:pt x="133648" y="287793"/>
                          <a:pt x="153487" y="281195"/>
                        </a:cubicBezTo>
                        <a:close/>
                      </a:path>
                    </a:pathLst>
                  </a:custGeom>
                  <a:solidFill>
                    <a:srgbClr val="0971CA"/>
                  </a:solidFill>
                  <a:ln w="1525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" name="任意多边形: 形状 124"/>
                  <p:cNvSpPr/>
                  <p:nvPr/>
                </p:nvSpPr>
                <p:spPr>
                  <a:xfrm>
                    <a:off x="12887406" y="5970220"/>
                    <a:ext cx="90087" cy="198436"/>
                  </a:xfrm>
                  <a:custGeom>
                    <a:avLst/>
                    <a:gdLst>
                      <a:gd name="csX0" fmla="*/ 103437 w 103437"/>
                      <a:gd name="csY0" fmla="*/ 123249 h 227841"/>
                      <a:gd name="csX1" fmla="*/ 66798 w 103437"/>
                      <a:gd name="csY1" fmla="*/ 219006 h 227841"/>
                      <a:gd name="csX2" fmla="*/ 60200 w 103437"/>
                      <a:gd name="csY2" fmla="*/ 225388 h 227841"/>
                      <a:gd name="csX3" fmla="*/ 47972 w 103437"/>
                      <a:gd name="csY3" fmla="*/ 224636 h 227841"/>
                      <a:gd name="csX4" fmla="*/ 48095 w 103437"/>
                      <a:gd name="csY4" fmla="*/ 213068 h 227841"/>
                      <a:gd name="csX5" fmla="*/ 72367 w 103437"/>
                      <a:gd name="csY5" fmla="*/ 178791 h 227841"/>
                      <a:gd name="csX6" fmla="*/ 10136 w 103437"/>
                      <a:gd name="csY6" fmla="*/ 18195 h 227841"/>
                      <a:gd name="csX7" fmla="*/ 5195 w 103437"/>
                      <a:gd name="csY7" fmla="*/ 16109 h 227841"/>
                      <a:gd name="csX8" fmla="*/ 869 w 103437"/>
                      <a:gd name="csY8" fmla="*/ 4586 h 227841"/>
                      <a:gd name="csX9" fmla="*/ 10964 w 103437"/>
                      <a:gd name="csY9" fmla="*/ 490 h 227841"/>
                      <a:gd name="csX10" fmla="*/ 64803 w 103437"/>
                      <a:gd name="csY10" fmla="*/ 32603 h 227841"/>
                      <a:gd name="csX11" fmla="*/ 103437 w 103437"/>
                      <a:gd name="csY11" fmla="*/ 123249 h 22784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</a:cxnLst>
                    <a:rect l="l" t="t" r="r" b="b"/>
                    <a:pathLst>
                      <a:path w="103437" h="227841">
                        <a:moveTo>
                          <a:pt x="103437" y="123249"/>
                        </a:moveTo>
                        <a:cubicBezTo>
                          <a:pt x="103007" y="160901"/>
                          <a:pt x="91500" y="192523"/>
                          <a:pt x="66798" y="219006"/>
                        </a:cubicBezTo>
                        <a:cubicBezTo>
                          <a:pt x="64711" y="221246"/>
                          <a:pt x="62532" y="223424"/>
                          <a:pt x="60200" y="225388"/>
                        </a:cubicBezTo>
                        <a:cubicBezTo>
                          <a:pt x="55966" y="228948"/>
                          <a:pt x="51762" y="228580"/>
                          <a:pt x="47972" y="224636"/>
                        </a:cubicBezTo>
                        <a:cubicBezTo>
                          <a:pt x="44289" y="220816"/>
                          <a:pt x="44719" y="216934"/>
                          <a:pt x="48095" y="213068"/>
                        </a:cubicBezTo>
                        <a:cubicBezTo>
                          <a:pt x="57346" y="202466"/>
                          <a:pt x="66107" y="191603"/>
                          <a:pt x="72367" y="178791"/>
                        </a:cubicBezTo>
                        <a:cubicBezTo>
                          <a:pt x="102685" y="116652"/>
                          <a:pt x="74485" y="43665"/>
                          <a:pt x="10136" y="18195"/>
                        </a:cubicBezTo>
                        <a:cubicBezTo>
                          <a:pt x="8479" y="17536"/>
                          <a:pt x="6791" y="16907"/>
                          <a:pt x="5195" y="16109"/>
                        </a:cubicBezTo>
                        <a:cubicBezTo>
                          <a:pt x="240" y="13608"/>
                          <a:pt x="-1095" y="9634"/>
                          <a:pt x="869" y="4586"/>
                        </a:cubicBezTo>
                        <a:cubicBezTo>
                          <a:pt x="2740" y="-247"/>
                          <a:pt x="6453" y="-554"/>
                          <a:pt x="10964" y="490"/>
                        </a:cubicBezTo>
                        <a:cubicBezTo>
                          <a:pt x="32353" y="5461"/>
                          <a:pt x="49874" y="16922"/>
                          <a:pt x="64803" y="32603"/>
                        </a:cubicBezTo>
                        <a:cubicBezTo>
                          <a:pt x="89367" y="58456"/>
                          <a:pt x="103314" y="88804"/>
                          <a:pt x="103437" y="123249"/>
                        </a:cubicBezTo>
                        <a:close/>
                      </a:path>
                    </a:pathLst>
                  </a:custGeom>
                  <a:solidFill>
                    <a:srgbClr val="0971CA"/>
                  </a:solidFill>
                  <a:ln w="1525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" name="任意多边形: 形状 125"/>
                  <p:cNvSpPr/>
                  <p:nvPr/>
                </p:nvSpPr>
                <p:spPr>
                  <a:xfrm>
                    <a:off x="12874186" y="6014854"/>
                    <a:ext cx="53571" cy="114922"/>
                  </a:xfrm>
                  <a:custGeom>
                    <a:avLst/>
                    <a:gdLst>
                      <a:gd name="csX0" fmla="*/ 61509 w 61510"/>
                      <a:gd name="csY0" fmla="*/ 75930 h 131952"/>
                      <a:gd name="csX1" fmla="*/ 42024 w 61510"/>
                      <a:gd name="csY1" fmla="*/ 126838 h 131952"/>
                      <a:gd name="csX2" fmla="*/ 33677 w 61510"/>
                      <a:gd name="csY2" fmla="*/ 131901 h 131952"/>
                      <a:gd name="csX3" fmla="*/ 26497 w 61510"/>
                      <a:gd name="csY3" fmla="*/ 128403 h 131952"/>
                      <a:gd name="csX4" fmla="*/ 27018 w 61510"/>
                      <a:gd name="csY4" fmla="*/ 119074 h 131952"/>
                      <a:gd name="csX5" fmla="*/ 40827 w 61510"/>
                      <a:gd name="csY5" fmla="*/ 91043 h 131952"/>
                      <a:gd name="csX6" fmla="*/ 12013 w 61510"/>
                      <a:gd name="csY6" fmla="*/ 20664 h 131952"/>
                      <a:gd name="csX7" fmla="*/ 4939 w 61510"/>
                      <a:gd name="csY7" fmla="*/ 16092 h 131952"/>
                      <a:gd name="csX8" fmla="*/ 1180 w 61510"/>
                      <a:gd name="csY8" fmla="*/ 4293 h 131952"/>
                      <a:gd name="csX9" fmla="*/ 13209 w 61510"/>
                      <a:gd name="csY9" fmla="*/ 1101 h 131952"/>
                      <a:gd name="csX10" fmla="*/ 37313 w 61510"/>
                      <a:gd name="csY10" fmla="*/ 17074 h 131952"/>
                      <a:gd name="csX11" fmla="*/ 61509 w 61510"/>
                      <a:gd name="csY11" fmla="*/ 75930 h 131952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  <a:cxn ang="0">
                        <a:pos x="csX11" y="csY11"/>
                      </a:cxn>
                    </a:cxnLst>
                    <a:rect l="l" t="t" r="r" b="b"/>
                    <a:pathLst>
                      <a:path w="61510" h="131952">
                        <a:moveTo>
                          <a:pt x="61509" y="75930"/>
                        </a:moveTo>
                        <a:cubicBezTo>
                          <a:pt x="61064" y="95216"/>
                          <a:pt x="55971" y="112722"/>
                          <a:pt x="42024" y="126838"/>
                        </a:cubicBezTo>
                        <a:cubicBezTo>
                          <a:pt x="39661" y="129231"/>
                          <a:pt x="37206" y="131518"/>
                          <a:pt x="33677" y="131901"/>
                        </a:cubicBezTo>
                        <a:cubicBezTo>
                          <a:pt x="30608" y="132239"/>
                          <a:pt x="28169" y="130904"/>
                          <a:pt x="26497" y="128403"/>
                        </a:cubicBezTo>
                        <a:cubicBezTo>
                          <a:pt x="24348" y="125212"/>
                          <a:pt x="25192" y="122112"/>
                          <a:pt x="27018" y="119074"/>
                        </a:cubicBezTo>
                        <a:cubicBezTo>
                          <a:pt x="32404" y="110114"/>
                          <a:pt x="38418" y="101522"/>
                          <a:pt x="40827" y="91043"/>
                        </a:cubicBezTo>
                        <a:cubicBezTo>
                          <a:pt x="47194" y="63456"/>
                          <a:pt x="36117" y="36237"/>
                          <a:pt x="12013" y="20664"/>
                        </a:cubicBezTo>
                        <a:cubicBezTo>
                          <a:pt x="9650" y="19145"/>
                          <a:pt x="7210" y="17749"/>
                          <a:pt x="4939" y="16092"/>
                        </a:cubicBezTo>
                        <a:cubicBezTo>
                          <a:pt x="843" y="13115"/>
                          <a:pt x="-1581" y="9356"/>
                          <a:pt x="1180" y="4293"/>
                        </a:cubicBezTo>
                        <a:cubicBezTo>
                          <a:pt x="3973" y="-847"/>
                          <a:pt x="8668" y="-617"/>
                          <a:pt x="13209" y="1101"/>
                        </a:cubicBezTo>
                        <a:cubicBezTo>
                          <a:pt x="22415" y="4600"/>
                          <a:pt x="30363" y="10246"/>
                          <a:pt x="37313" y="17074"/>
                        </a:cubicBezTo>
                        <a:cubicBezTo>
                          <a:pt x="51797" y="31251"/>
                          <a:pt x="61601" y="55585"/>
                          <a:pt x="61509" y="75930"/>
                        </a:cubicBezTo>
                        <a:close/>
                      </a:path>
                    </a:pathLst>
                  </a:custGeom>
                  <a:solidFill>
                    <a:srgbClr val="0971CA"/>
                  </a:solidFill>
                  <a:ln w="1525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" name="任意多边形: 形状 126"/>
                  <p:cNvSpPr/>
                  <p:nvPr/>
                </p:nvSpPr>
                <p:spPr>
                  <a:xfrm>
                    <a:off x="12910045" y="5929636"/>
                    <a:ext cx="77977" cy="68448"/>
                  </a:xfrm>
                  <a:custGeom>
                    <a:avLst/>
                    <a:gdLst>
                      <a:gd name="csX0" fmla="*/ 9688 w 89532"/>
                      <a:gd name="csY0" fmla="*/ 0 h 78591"/>
                      <a:gd name="csX1" fmla="*/ 28437 w 89532"/>
                      <a:gd name="csY1" fmla="*/ 6659 h 78591"/>
                      <a:gd name="csX2" fmla="*/ 84716 w 89532"/>
                      <a:gd name="csY2" fmla="*/ 56953 h 78591"/>
                      <a:gd name="csX3" fmla="*/ 89518 w 89532"/>
                      <a:gd name="csY3" fmla="*/ 69704 h 78591"/>
                      <a:gd name="csX4" fmla="*/ 84992 w 89532"/>
                      <a:gd name="csY4" fmla="*/ 77835 h 78591"/>
                      <a:gd name="csX5" fmla="*/ 76078 w 89532"/>
                      <a:gd name="csY5" fmla="*/ 75580 h 78591"/>
                      <a:gd name="csX6" fmla="*/ 66795 w 89532"/>
                      <a:gd name="csY6" fmla="*/ 62523 h 78591"/>
                      <a:gd name="csX7" fmla="*/ 10302 w 89532"/>
                      <a:gd name="csY7" fmla="*/ 18458 h 78591"/>
                      <a:gd name="csX8" fmla="*/ 4165 w 89532"/>
                      <a:gd name="csY8" fmla="*/ 15389 h 78591"/>
                      <a:gd name="csX9" fmla="*/ 329 w 89532"/>
                      <a:gd name="csY9" fmla="*/ 6199 h 78591"/>
                      <a:gd name="csX10" fmla="*/ 9688 w 89532"/>
                      <a:gd name="csY10" fmla="*/ 0 h 78591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  <a:cxn ang="0">
                        <a:pos x="csX8" y="csY8"/>
                      </a:cxn>
                      <a:cxn ang="0">
                        <a:pos x="csX9" y="csY9"/>
                      </a:cxn>
                      <a:cxn ang="0">
                        <a:pos x="csX10" y="csY10"/>
                      </a:cxn>
                    </a:cxnLst>
                    <a:rect l="l" t="t" r="r" b="b"/>
                    <a:pathLst>
                      <a:path w="89532" h="78591">
                        <a:moveTo>
                          <a:pt x="9688" y="0"/>
                        </a:moveTo>
                        <a:cubicBezTo>
                          <a:pt x="15979" y="752"/>
                          <a:pt x="22285" y="3728"/>
                          <a:pt x="28437" y="6659"/>
                        </a:cubicBezTo>
                        <a:cubicBezTo>
                          <a:pt x="52050" y="17905"/>
                          <a:pt x="70600" y="35013"/>
                          <a:pt x="84716" y="56953"/>
                        </a:cubicBezTo>
                        <a:cubicBezTo>
                          <a:pt x="87186" y="60789"/>
                          <a:pt x="89319" y="64947"/>
                          <a:pt x="89518" y="69704"/>
                        </a:cubicBezTo>
                        <a:cubicBezTo>
                          <a:pt x="89687" y="73340"/>
                          <a:pt x="88429" y="76286"/>
                          <a:pt x="84992" y="77835"/>
                        </a:cubicBezTo>
                        <a:cubicBezTo>
                          <a:pt x="81509" y="79416"/>
                          <a:pt x="78318" y="78449"/>
                          <a:pt x="76078" y="75580"/>
                        </a:cubicBezTo>
                        <a:cubicBezTo>
                          <a:pt x="72794" y="71376"/>
                          <a:pt x="69940" y="66834"/>
                          <a:pt x="66795" y="62523"/>
                        </a:cubicBezTo>
                        <a:cubicBezTo>
                          <a:pt x="52158" y="42470"/>
                          <a:pt x="33593" y="27433"/>
                          <a:pt x="10302" y="18458"/>
                        </a:cubicBezTo>
                        <a:cubicBezTo>
                          <a:pt x="8169" y="17629"/>
                          <a:pt x="6052" y="16663"/>
                          <a:pt x="4165" y="15389"/>
                        </a:cubicBezTo>
                        <a:cubicBezTo>
                          <a:pt x="943" y="13241"/>
                          <a:pt x="-760" y="10218"/>
                          <a:pt x="329" y="6199"/>
                        </a:cubicBezTo>
                        <a:cubicBezTo>
                          <a:pt x="1342" y="2424"/>
                          <a:pt x="4671" y="77"/>
                          <a:pt x="9688" y="0"/>
                        </a:cubicBezTo>
                        <a:close/>
                      </a:path>
                    </a:pathLst>
                  </a:custGeom>
                  <a:solidFill>
                    <a:srgbClr val="0971CA"/>
                  </a:solidFill>
                  <a:ln w="1525" cap="flat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30" name="文本框 129"/>
              <p:cNvSpPr txBox="1"/>
              <p:nvPr/>
            </p:nvSpPr>
            <p:spPr>
              <a:xfrm>
                <a:off x="7088368" y="5403233"/>
                <a:ext cx="726281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4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ea"/>
                  </a:rPr>
                  <a:t>鼻痒</a:t>
                </a:r>
                <a:endParaRPr lang="zh-CN" altLang="en-US" sz="14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65471" y="5324475"/>
              <a:ext cx="1226415" cy="455617"/>
              <a:chOff x="7764687" y="5324475"/>
              <a:chExt cx="1226415" cy="455617"/>
            </a:xfrm>
          </p:grpSpPr>
          <p:grpSp>
            <p:nvGrpSpPr>
              <p:cNvPr id="139" name="组合 138"/>
              <p:cNvGrpSpPr/>
              <p:nvPr/>
            </p:nvGrpSpPr>
            <p:grpSpPr>
              <a:xfrm>
                <a:off x="7764687" y="5324475"/>
                <a:ext cx="1226415" cy="455617"/>
                <a:chOff x="7764687" y="5324475"/>
                <a:chExt cx="1226415" cy="455617"/>
              </a:xfrm>
            </p:grpSpPr>
            <p:sp>
              <p:nvSpPr>
                <p:cNvPr id="132" name="椭圆 131"/>
                <p:cNvSpPr/>
                <p:nvPr/>
              </p:nvSpPr>
              <p:spPr>
                <a:xfrm>
                  <a:off x="7764687" y="5324475"/>
                  <a:ext cx="455617" cy="455617"/>
                </a:xfrm>
                <a:prstGeom prst="ellipse">
                  <a:avLst/>
                </a:prstGeom>
                <a:solidFill>
                  <a:srgbClr val="EFF7F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文本框 137"/>
                <p:cNvSpPr txBox="1"/>
                <p:nvPr/>
              </p:nvSpPr>
              <p:spPr>
                <a:xfrm>
                  <a:off x="8264821" y="5403233"/>
                  <a:ext cx="726281" cy="30777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zh-CN" altLang="en-US" sz="14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lin ang="5400000" scaled="0"/>
                      </a:gradFill>
                      <a:latin typeface="+mn-ea"/>
                    </a:rPr>
                    <a:t>鼻塞</a:t>
                  </a:r>
                  <a:endParaRPr lang="zh-CN" altLang="en-US" sz="1400"/>
                </a:p>
              </p:txBody>
            </p:sp>
          </p:grpSp>
          <p:sp>
            <p:nvSpPr>
              <p:cNvPr id="146" name="任意多边形: 形状 145"/>
              <p:cNvSpPr/>
              <p:nvPr/>
            </p:nvSpPr>
            <p:spPr>
              <a:xfrm>
                <a:off x="7883877" y="5419251"/>
                <a:ext cx="228410" cy="241616"/>
              </a:xfrm>
              <a:custGeom>
                <a:avLst/>
                <a:gdLst>
                  <a:gd name="csX0" fmla="*/ 279748 w 410782"/>
                  <a:gd name="csY0" fmla="*/ 122043 h 434531"/>
                  <a:gd name="csX1" fmla="*/ 338589 w 410782"/>
                  <a:gd name="csY1" fmla="*/ 64353 h 434531"/>
                  <a:gd name="csX2" fmla="*/ 390065 w 410782"/>
                  <a:gd name="csY2" fmla="*/ 11711 h 434531"/>
                  <a:gd name="csX3" fmla="*/ 396417 w 410782"/>
                  <a:gd name="csY3" fmla="*/ 6188 h 434531"/>
                  <a:gd name="csX4" fmla="*/ 407495 w 410782"/>
                  <a:gd name="csY4" fmla="*/ 7492 h 434531"/>
                  <a:gd name="csX5" fmla="*/ 409305 w 410782"/>
                  <a:gd name="csY5" fmla="*/ 18554 h 434531"/>
                  <a:gd name="csX6" fmla="*/ 401572 w 410782"/>
                  <a:gd name="csY6" fmla="*/ 28036 h 434531"/>
                  <a:gd name="csX7" fmla="*/ 144775 w 410782"/>
                  <a:gd name="csY7" fmla="*/ 286521 h 434531"/>
                  <a:gd name="csX8" fmla="*/ 142075 w 410782"/>
                  <a:gd name="csY8" fmla="*/ 289252 h 434531"/>
                  <a:gd name="csX9" fmla="*/ 134848 w 410782"/>
                  <a:gd name="csY9" fmla="*/ 299302 h 434531"/>
                  <a:gd name="csX10" fmla="*/ 146494 w 410782"/>
                  <a:gd name="csY10" fmla="*/ 305362 h 434531"/>
                  <a:gd name="csX11" fmla="*/ 150237 w 410782"/>
                  <a:gd name="csY11" fmla="*/ 306191 h 434531"/>
                  <a:gd name="csX12" fmla="*/ 170352 w 410782"/>
                  <a:gd name="csY12" fmla="*/ 296233 h 434531"/>
                  <a:gd name="csX13" fmla="*/ 258682 w 410782"/>
                  <a:gd name="csY13" fmla="*/ 287058 h 434531"/>
                  <a:gd name="csX14" fmla="*/ 265924 w 410782"/>
                  <a:gd name="csY14" fmla="*/ 295972 h 434531"/>
                  <a:gd name="csX15" fmla="*/ 282004 w 410782"/>
                  <a:gd name="csY15" fmla="*/ 301081 h 434531"/>
                  <a:gd name="csX16" fmla="*/ 311156 w 410782"/>
                  <a:gd name="csY16" fmla="*/ 230212 h 434531"/>
                  <a:gd name="csX17" fmla="*/ 290949 w 410782"/>
                  <a:gd name="csY17" fmla="*/ 194984 h 434531"/>
                  <a:gd name="csX18" fmla="*/ 283016 w 410782"/>
                  <a:gd name="csY18" fmla="*/ 178414 h 434531"/>
                  <a:gd name="csX19" fmla="*/ 288310 w 410782"/>
                  <a:gd name="csY19" fmla="*/ 167320 h 434531"/>
                  <a:gd name="csX20" fmla="*/ 298452 w 410782"/>
                  <a:gd name="csY20" fmla="*/ 170987 h 434531"/>
                  <a:gd name="csX21" fmla="*/ 324151 w 410782"/>
                  <a:gd name="csY21" fmla="*/ 210082 h 434531"/>
                  <a:gd name="csX22" fmla="*/ 302671 w 410782"/>
                  <a:gd name="csY22" fmla="*/ 313739 h 434531"/>
                  <a:gd name="csX23" fmla="*/ 302487 w 410782"/>
                  <a:gd name="csY23" fmla="*/ 322700 h 434531"/>
                  <a:gd name="csX24" fmla="*/ 397506 w 410782"/>
                  <a:gd name="csY24" fmla="*/ 416369 h 434531"/>
                  <a:gd name="csX25" fmla="*/ 400805 w 410782"/>
                  <a:gd name="csY25" fmla="*/ 428137 h 434531"/>
                  <a:gd name="csX26" fmla="*/ 386736 w 410782"/>
                  <a:gd name="csY26" fmla="*/ 432326 h 434531"/>
                  <a:gd name="csX27" fmla="*/ 370963 w 410782"/>
                  <a:gd name="csY27" fmla="*/ 416707 h 434531"/>
                  <a:gd name="csX28" fmla="*/ 283799 w 410782"/>
                  <a:gd name="csY28" fmla="*/ 330356 h 434531"/>
                  <a:gd name="csX29" fmla="*/ 274946 w 410782"/>
                  <a:gd name="csY29" fmla="*/ 326980 h 434531"/>
                  <a:gd name="csX30" fmla="*/ 152263 w 410782"/>
                  <a:gd name="csY30" fmla="*/ 327794 h 434531"/>
                  <a:gd name="csX31" fmla="*/ 125949 w 410782"/>
                  <a:gd name="csY31" fmla="*/ 318158 h 434531"/>
                  <a:gd name="csX32" fmla="*/ 113046 w 410782"/>
                  <a:gd name="csY32" fmla="*/ 319631 h 434531"/>
                  <a:gd name="csX33" fmla="*/ 20497 w 410782"/>
                  <a:gd name="csY33" fmla="*/ 412595 h 434531"/>
                  <a:gd name="csX34" fmla="*/ 2959 w 410782"/>
                  <a:gd name="csY34" fmla="*/ 417305 h 434531"/>
                  <a:gd name="csX35" fmla="*/ 7348 w 410782"/>
                  <a:gd name="csY35" fmla="*/ 399108 h 434531"/>
                  <a:gd name="csX36" fmla="*/ 102168 w 410782"/>
                  <a:gd name="csY36" fmla="*/ 304119 h 434531"/>
                  <a:gd name="csX37" fmla="*/ 102904 w 410782"/>
                  <a:gd name="csY37" fmla="*/ 296264 h 434531"/>
                  <a:gd name="csX38" fmla="*/ 102797 w 410782"/>
                  <a:gd name="csY38" fmla="*/ 203177 h 434531"/>
                  <a:gd name="csX39" fmla="*/ 138377 w 410782"/>
                  <a:gd name="csY39" fmla="*/ 137095 h 434531"/>
                  <a:gd name="csX40" fmla="*/ 135416 w 410782"/>
                  <a:gd name="csY40" fmla="*/ 124743 h 434531"/>
                  <a:gd name="csX41" fmla="*/ 38064 w 410782"/>
                  <a:gd name="csY41" fmla="*/ 27913 h 434531"/>
                  <a:gd name="csX42" fmla="*/ 26664 w 410782"/>
                  <a:gd name="csY42" fmla="*/ 16529 h 434531"/>
                  <a:gd name="csX43" fmla="*/ 26388 w 410782"/>
                  <a:gd name="csY43" fmla="*/ 3104 h 434531"/>
                  <a:gd name="csX44" fmla="*/ 39936 w 410782"/>
                  <a:gd name="csY44" fmla="*/ 3395 h 434531"/>
                  <a:gd name="csX45" fmla="*/ 71589 w 410782"/>
                  <a:gd name="csY45" fmla="*/ 34664 h 434531"/>
                  <a:gd name="csX46" fmla="*/ 141385 w 410782"/>
                  <a:gd name="csY46" fmla="*/ 104813 h 434531"/>
                  <a:gd name="csX47" fmla="*/ 150805 w 410782"/>
                  <a:gd name="csY47" fmla="*/ 101867 h 434531"/>
                  <a:gd name="csX48" fmla="*/ 161576 w 410782"/>
                  <a:gd name="csY48" fmla="*/ 56390 h 434531"/>
                  <a:gd name="csX49" fmla="*/ 163018 w 410782"/>
                  <a:gd name="csY49" fmla="*/ 50437 h 434531"/>
                  <a:gd name="csX50" fmla="*/ 174679 w 410782"/>
                  <a:gd name="csY50" fmla="*/ 42904 h 434531"/>
                  <a:gd name="csX51" fmla="*/ 181768 w 410782"/>
                  <a:gd name="csY51" fmla="*/ 54595 h 434531"/>
                  <a:gd name="csX52" fmla="*/ 169508 w 410782"/>
                  <a:gd name="csY52" fmla="*/ 108372 h 434531"/>
                  <a:gd name="csX53" fmla="*/ 120226 w 410782"/>
                  <a:gd name="csY53" fmla="*/ 213518 h 434531"/>
                  <a:gd name="csX54" fmla="*/ 109026 w 410782"/>
                  <a:gd name="csY54" fmla="*/ 265056 h 434531"/>
                  <a:gd name="csX55" fmla="*/ 114365 w 410782"/>
                  <a:gd name="csY55" fmla="*/ 279386 h 434531"/>
                  <a:gd name="csX56" fmla="*/ 124093 w 410782"/>
                  <a:gd name="csY56" fmla="*/ 281120 h 434531"/>
                  <a:gd name="csX57" fmla="*/ 184990 w 410782"/>
                  <a:gd name="csY57" fmla="*/ 219441 h 434531"/>
                  <a:gd name="csX58" fmla="*/ 258468 w 410782"/>
                  <a:gd name="csY58" fmla="*/ 145411 h 434531"/>
                  <a:gd name="csX59" fmla="*/ 261858 w 410782"/>
                  <a:gd name="csY59" fmla="*/ 128917 h 434531"/>
                  <a:gd name="csX60" fmla="*/ 242112 w 410782"/>
                  <a:gd name="csY60" fmla="*/ 58139 h 434531"/>
                  <a:gd name="csX61" fmla="*/ 242557 w 410782"/>
                  <a:gd name="csY61" fmla="*/ 47660 h 434531"/>
                  <a:gd name="csX62" fmla="*/ 252115 w 410782"/>
                  <a:gd name="csY62" fmla="*/ 42612 h 434531"/>
                  <a:gd name="csX63" fmla="*/ 261720 w 410782"/>
                  <a:gd name="csY63" fmla="*/ 53076 h 434531"/>
                  <a:gd name="csX64" fmla="*/ 274931 w 410782"/>
                  <a:gd name="csY64" fmla="*/ 106639 h 434531"/>
                  <a:gd name="csX65" fmla="*/ 279748 w 410782"/>
                  <a:gd name="csY65" fmla="*/ 122043 h 434531"/>
                  <a:gd name="csX66" fmla="*/ 217839 w 410782"/>
                  <a:gd name="csY66" fmla="*/ 307694 h 434531"/>
                  <a:gd name="csX67" fmla="*/ 217839 w 410782"/>
                  <a:gd name="csY67" fmla="*/ 307786 h 434531"/>
                  <a:gd name="csX68" fmla="*/ 241513 w 410782"/>
                  <a:gd name="csY68" fmla="*/ 307771 h 434531"/>
                  <a:gd name="csX69" fmla="*/ 244459 w 410782"/>
                  <a:gd name="csY69" fmla="*/ 303199 h 434531"/>
                  <a:gd name="csX70" fmla="*/ 218161 w 410782"/>
                  <a:gd name="csY70" fmla="*/ 285585 h 434531"/>
                  <a:gd name="csX71" fmla="*/ 191050 w 410782"/>
                  <a:gd name="csY71" fmla="*/ 302692 h 434531"/>
                  <a:gd name="csX72" fmla="*/ 194165 w 410782"/>
                  <a:gd name="csY72" fmla="*/ 307694 h 434531"/>
                  <a:gd name="csX73" fmla="*/ 217839 w 410782"/>
                  <a:gd name="csY73" fmla="*/ 307694 h 4345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  <a:cxn ang="0">
                    <a:pos x="csX36" y="csY36"/>
                  </a:cxn>
                  <a:cxn ang="0">
                    <a:pos x="csX37" y="csY37"/>
                  </a:cxn>
                  <a:cxn ang="0">
                    <a:pos x="csX38" y="csY38"/>
                  </a:cxn>
                  <a:cxn ang="0">
                    <a:pos x="csX39" y="csY39"/>
                  </a:cxn>
                  <a:cxn ang="0">
                    <a:pos x="csX40" y="csY40"/>
                  </a:cxn>
                  <a:cxn ang="0">
                    <a:pos x="csX41" y="csY41"/>
                  </a:cxn>
                  <a:cxn ang="0">
                    <a:pos x="csX42" y="csY42"/>
                  </a:cxn>
                  <a:cxn ang="0">
                    <a:pos x="csX43" y="csY43"/>
                  </a:cxn>
                  <a:cxn ang="0">
                    <a:pos x="csX44" y="csY44"/>
                  </a:cxn>
                  <a:cxn ang="0">
                    <a:pos x="csX45" y="csY45"/>
                  </a:cxn>
                  <a:cxn ang="0">
                    <a:pos x="csX46" y="csY46"/>
                  </a:cxn>
                  <a:cxn ang="0">
                    <a:pos x="csX47" y="csY47"/>
                  </a:cxn>
                  <a:cxn ang="0">
                    <a:pos x="csX48" y="csY48"/>
                  </a:cxn>
                  <a:cxn ang="0">
                    <a:pos x="csX49" y="csY49"/>
                  </a:cxn>
                  <a:cxn ang="0">
                    <a:pos x="csX50" y="csY50"/>
                  </a:cxn>
                  <a:cxn ang="0">
                    <a:pos x="csX51" y="csY51"/>
                  </a:cxn>
                  <a:cxn ang="0">
                    <a:pos x="csX52" y="csY52"/>
                  </a:cxn>
                  <a:cxn ang="0">
                    <a:pos x="csX53" y="csY53"/>
                  </a:cxn>
                  <a:cxn ang="0">
                    <a:pos x="csX54" y="csY54"/>
                  </a:cxn>
                  <a:cxn ang="0">
                    <a:pos x="csX55" y="csY55"/>
                  </a:cxn>
                  <a:cxn ang="0">
                    <a:pos x="csX56" y="csY56"/>
                  </a:cxn>
                  <a:cxn ang="0">
                    <a:pos x="csX57" y="csY57"/>
                  </a:cxn>
                  <a:cxn ang="0">
                    <a:pos x="csX58" y="csY58"/>
                  </a:cxn>
                  <a:cxn ang="0">
                    <a:pos x="csX59" y="csY59"/>
                  </a:cxn>
                  <a:cxn ang="0">
                    <a:pos x="csX60" y="csY60"/>
                  </a:cxn>
                  <a:cxn ang="0">
                    <a:pos x="csX61" y="csY61"/>
                  </a:cxn>
                  <a:cxn ang="0">
                    <a:pos x="csX62" y="csY62"/>
                  </a:cxn>
                  <a:cxn ang="0">
                    <a:pos x="csX63" y="csY63"/>
                  </a:cxn>
                  <a:cxn ang="0">
                    <a:pos x="csX64" y="csY64"/>
                  </a:cxn>
                  <a:cxn ang="0">
                    <a:pos x="csX65" y="csY65"/>
                  </a:cxn>
                  <a:cxn ang="0">
                    <a:pos x="csX66" y="csY66"/>
                  </a:cxn>
                  <a:cxn ang="0">
                    <a:pos x="csX67" y="csY67"/>
                  </a:cxn>
                  <a:cxn ang="0">
                    <a:pos x="csX68" y="csY68"/>
                  </a:cxn>
                  <a:cxn ang="0">
                    <a:pos x="csX69" y="csY69"/>
                  </a:cxn>
                  <a:cxn ang="0">
                    <a:pos x="csX70" y="csY70"/>
                  </a:cxn>
                  <a:cxn ang="0">
                    <a:pos x="csX71" y="csY71"/>
                  </a:cxn>
                  <a:cxn ang="0">
                    <a:pos x="csX72" y="csY72"/>
                  </a:cxn>
                  <a:cxn ang="0">
                    <a:pos x="csX73" y="csY73"/>
                  </a:cxn>
                </a:cxnLst>
                <a:rect l="l" t="t" r="r" b="b"/>
                <a:pathLst>
                  <a:path w="410782" h="434531">
                    <a:moveTo>
                      <a:pt x="279748" y="122043"/>
                    </a:moveTo>
                    <a:cubicBezTo>
                      <a:pt x="299924" y="102281"/>
                      <a:pt x="319441" y="83501"/>
                      <a:pt x="338589" y="64353"/>
                    </a:cubicBezTo>
                    <a:cubicBezTo>
                      <a:pt x="355942" y="47000"/>
                      <a:pt x="372896" y="29248"/>
                      <a:pt x="390065" y="11711"/>
                    </a:cubicBezTo>
                    <a:cubicBezTo>
                      <a:pt x="392029" y="9717"/>
                      <a:pt x="394131" y="7783"/>
                      <a:pt x="396417" y="6188"/>
                    </a:cubicBezTo>
                    <a:cubicBezTo>
                      <a:pt x="400376" y="3411"/>
                      <a:pt x="404242" y="4208"/>
                      <a:pt x="407495" y="7492"/>
                    </a:cubicBezTo>
                    <a:cubicBezTo>
                      <a:pt x="410640" y="10668"/>
                      <a:pt x="412082" y="14488"/>
                      <a:pt x="409305" y="18554"/>
                    </a:cubicBezTo>
                    <a:cubicBezTo>
                      <a:pt x="407004" y="21914"/>
                      <a:pt x="404442" y="25152"/>
                      <a:pt x="401572" y="28036"/>
                    </a:cubicBezTo>
                    <a:cubicBezTo>
                      <a:pt x="315973" y="114187"/>
                      <a:pt x="231280" y="201244"/>
                      <a:pt x="144775" y="286521"/>
                    </a:cubicBezTo>
                    <a:cubicBezTo>
                      <a:pt x="143870" y="287411"/>
                      <a:pt x="142857" y="288239"/>
                      <a:pt x="142075" y="289252"/>
                    </a:cubicBezTo>
                    <a:cubicBezTo>
                      <a:pt x="139482" y="292597"/>
                      <a:pt x="133682" y="294898"/>
                      <a:pt x="134848" y="299302"/>
                    </a:cubicBezTo>
                    <a:cubicBezTo>
                      <a:pt x="136091" y="303997"/>
                      <a:pt x="142228" y="303935"/>
                      <a:pt x="146494" y="305362"/>
                    </a:cubicBezTo>
                    <a:cubicBezTo>
                      <a:pt x="147706" y="305761"/>
                      <a:pt x="148979" y="305945"/>
                      <a:pt x="150237" y="306191"/>
                    </a:cubicBezTo>
                    <a:cubicBezTo>
                      <a:pt x="164062" y="308922"/>
                      <a:pt x="164062" y="308922"/>
                      <a:pt x="170352" y="296233"/>
                    </a:cubicBezTo>
                    <a:cubicBezTo>
                      <a:pt x="188135" y="260299"/>
                      <a:pt x="230604" y="255881"/>
                      <a:pt x="258682" y="287058"/>
                    </a:cubicBezTo>
                    <a:cubicBezTo>
                      <a:pt x="261245" y="289912"/>
                      <a:pt x="264037" y="292689"/>
                      <a:pt x="265924" y="295972"/>
                    </a:cubicBezTo>
                    <a:cubicBezTo>
                      <a:pt x="269852" y="302830"/>
                      <a:pt x="274823" y="303674"/>
                      <a:pt x="282004" y="301081"/>
                    </a:cubicBezTo>
                    <a:cubicBezTo>
                      <a:pt x="309851" y="291062"/>
                      <a:pt x="323399" y="258596"/>
                      <a:pt x="311156" y="230212"/>
                    </a:cubicBezTo>
                    <a:cubicBezTo>
                      <a:pt x="305755" y="217707"/>
                      <a:pt x="297378" y="206890"/>
                      <a:pt x="290949" y="194984"/>
                    </a:cubicBezTo>
                    <a:cubicBezTo>
                      <a:pt x="288034" y="189583"/>
                      <a:pt x="285042" y="184259"/>
                      <a:pt x="283016" y="178414"/>
                    </a:cubicBezTo>
                    <a:cubicBezTo>
                      <a:pt x="281068" y="172798"/>
                      <a:pt x="283768" y="169729"/>
                      <a:pt x="288310" y="167320"/>
                    </a:cubicBezTo>
                    <a:cubicBezTo>
                      <a:pt x="293097" y="164789"/>
                      <a:pt x="295935" y="167167"/>
                      <a:pt x="298452" y="170987"/>
                    </a:cubicBezTo>
                    <a:cubicBezTo>
                      <a:pt x="307013" y="184029"/>
                      <a:pt x="316280" y="196641"/>
                      <a:pt x="324151" y="210082"/>
                    </a:cubicBezTo>
                    <a:cubicBezTo>
                      <a:pt x="347964" y="250771"/>
                      <a:pt x="333695" y="294714"/>
                      <a:pt x="302671" y="313739"/>
                    </a:cubicBezTo>
                    <a:cubicBezTo>
                      <a:pt x="297439" y="316946"/>
                      <a:pt x="298421" y="319002"/>
                      <a:pt x="302487" y="322700"/>
                    </a:cubicBezTo>
                    <a:cubicBezTo>
                      <a:pt x="335444" y="352619"/>
                      <a:pt x="366068" y="384916"/>
                      <a:pt x="397506" y="416369"/>
                    </a:cubicBezTo>
                    <a:cubicBezTo>
                      <a:pt x="400713" y="419576"/>
                      <a:pt x="402708" y="423320"/>
                      <a:pt x="400805" y="428137"/>
                    </a:cubicBezTo>
                    <a:cubicBezTo>
                      <a:pt x="398243" y="434612"/>
                      <a:pt x="392366" y="436469"/>
                      <a:pt x="386736" y="432326"/>
                    </a:cubicBezTo>
                    <a:cubicBezTo>
                      <a:pt x="380721" y="427892"/>
                      <a:pt x="376195" y="421939"/>
                      <a:pt x="370963" y="416707"/>
                    </a:cubicBezTo>
                    <a:cubicBezTo>
                      <a:pt x="342011" y="387831"/>
                      <a:pt x="312859" y="359140"/>
                      <a:pt x="283799" y="330356"/>
                    </a:cubicBezTo>
                    <a:cubicBezTo>
                      <a:pt x="281298" y="327886"/>
                      <a:pt x="278674" y="326781"/>
                      <a:pt x="274946" y="326980"/>
                    </a:cubicBezTo>
                    <a:cubicBezTo>
                      <a:pt x="234072" y="329128"/>
                      <a:pt x="193152" y="327548"/>
                      <a:pt x="152263" y="327794"/>
                    </a:cubicBezTo>
                    <a:cubicBezTo>
                      <a:pt x="142612" y="327855"/>
                      <a:pt x="133744" y="323651"/>
                      <a:pt x="125949" y="318158"/>
                    </a:cubicBezTo>
                    <a:cubicBezTo>
                      <a:pt x="120656" y="314430"/>
                      <a:pt x="117480" y="315151"/>
                      <a:pt x="113046" y="319631"/>
                    </a:cubicBezTo>
                    <a:cubicBezTo>
                      <a:pt x="82360" y="350778"/>
                      <a:pt x="51397" y="381648"/>
                      <a:pt x="20497" y="412595"/>
                    </a:cubicBezTo>
                    <a:cubicBezTo>
                      <a:pt x="12457" y="420634"/>
                      <a:pt x="7731" y="421862"/>
                      <a:pt x="2959" y="417305"/>
                    </a:cubicBezTo>
                    <a:cubicBezTo>
                      <a:pt x="-2042" y="412533"/>
                      <a:pt x="-784" y="407271"/>
                      <a:pt x="7348" y="399108"/>
                    </a:cubicBezTo>
                    <a:cubicBezTo>
                      <a:pt x="38939" y="367425"/>
                      <a:pt x="70500" y="335726"/>
                      <a:pt x="102168" y="304119"/>
                    </a:cubicBezTo>
                    <a:cubicBezTo>
                      <a:pt x="104853" y="301450"/>
                      <a:pt x="105313" y="299332"/>
                      <a:pt x="102904" y="296264"/>
                    </a:cubicBezTo>
                    <a:cubicBezTo>
                      <a:pt x="78570" y="265301"/>
                      <a:pt x="82974" y="234032"/>
                      <a:pt x="102797" y="203177"/>
                    </a:cubicBezTo>
                    <a:cubicBezTo>
                      <a:pt x="116375" y="182034"/>
                      <a:pt x="128205" y="160048"/>
                      <a:pt x="138377" y="137095"/>
                    </a:cubicBezTo>
                    <a:cubicBezTo>
                      <a:pt x="140771" y="131709"/>
                      <a:pt x="139574" y="128825"/>
                      <a:pt x="135416" y="124743"/>
                    </a:cubicBezTo>
                    <a:cubicBezTo>
                      <a:pt x="102751" y="92676"/>
                      <a:pt x="70469" y="60241"/>
                      <a:pt x="38064" y="27913"/>
                    </a:cubicBezTo>
                    <a:cubicBezTo>
                      <a:pt x="34259" y="24124"/>
                      <a:pt x="30424" y="20365"/>
                      <a:pt x="26664" y="16529"/>
                    </a:cubicBezTo>
                    <a:cubicBezTo>
                      <a:pt x="22399" y="12171"/>
                      <a:pt x="21862" y="7599"/>
                      <a:pt x="26388" y="3104"/>
                    </a:cubicBezTo>
                    <a:cubicBezTo>
                      <a:pt x="30930" y="-1407"/>
                      <a:pt x="35686" y="-732"/>
                      <a:pt x="39936" y="3395"/>
                    </a:cubicBezTo>
                    <a:cubicBezTo>
                      <a:pt x="50584" y="13721"/>
                      <a:pt x="61110" y="24154"/>
                      <a:pt x="71589" y="34664"/>
                    </a:cubicBezTo>
                    <a:cubicBezTo>
                      <a:pt x="94880" y="58016"/>
                      <a:pt x="118109" y="81430"/>
                      <a:pt x="141385" y="104813"/>
                    </a:cubicBezTo>
                    <a:cubicBezTo>
                      <a:pt x="147200" y="110643"/>
                      <a:pt x="148657" y="110214"/>
                      <a:pt x="150805" y="101867"/>
                    </a:cubicBezTo>
                    <a:cubicBezTo>
                      <a:pt x="154702" y="86785"/>
                      <a:pt x="159198" y="71841"/>
                      <a:pt x="161576" y="56390"/>
                    </a:cubicBezTo>
                    <a:cubicBezTo>
                      <a:pt x="161883" y="54380"/>
                      <a:pt x="162313" y="52340"/>
                      <a:pt x="163018" y="50437"/>
                    </a:cubicBezTo>
                    <a:cubicBezTo>
                      <a:pt x="164998" y="45052"/>
                      <a:pt x="168726" y="41599"/>
                      <a:pt x="174679" y="42904"/>
                    </a:cubicBezTo>
                    <a:cubicBezTo>
                      <a:pt x="180647" y="44223"/>
                      <a:pt x="182596" y="48657"/>
                      <a:pt x="181768" y="54595"/>
                    </a:cubicBezTo>
                    <a:cubicBezTo>
                      <a:pt x="179205" y="72869"/>
                      <a:pt x="174434" y="90636"/>
                      <a:pt x="169508" y="108372"/>
                    </a:cubicBezTo>
                    <a:cubicBezTo>
                      <a:pt x="159014" y="146224"/>
                      <a:pt x="141323" y="180669"/>
                      <a:pt x="120226" y="213518"/>
                    </a:cubicBezTo>
                    <a:cubicBezTo>
                      <a:pt x="110054" y="229368"/>
                      <a:pt x="104055" y="245954"/>
                      <a:pt x="109026" y="265056"/>
                    </a:cubicBezTo>
                    <a:cubicBezTo>
                      <a:pt x="110330" y="270042"/>
                      <a:pt x="112309" y="274707"/>
                      <a:pt x="114365" y="279386"/>
                    </a:cubicBezTo>
                    <a:cubicBezTo>
                      <a:pt x="116897" y="285140"/>
                      <a:pt x="119291" y="286060"/>
                      <a:pt x="124093" y="281120"/>
                    </a:cubicBezTo>
                    <a:cubicBezTo>
                      <a:pt x="144254" y="260422"/>
                      <a:pt x="164982" y="240277"/>
                      <a:pt x="184990" y="219441"/>
                    </a:cubicBezTo>
                    <a:cubicBezTo>
                      <a:pt x="209078" y="194355"/>
                      <a:pt x="233550" y="169653"/>
                      <a:pt x="258468" y="145411"/>
                    </a:cubicBezTo>
                    <a:cubicBezTo>
                      <a:pt x="263853" y="140179"/>
                      <a:pt x="264850" y="136143"/>
                      <a:pt x="261858" y="128917"/>
                    </a:cubicBezTo>
                    <a:cubicBezTo>
                      <a:pt x="252422" y="106194"/>
                      <a:pt x="246853" y="82243"/>
                      <a:pt x="242112" y="58139"/>
                    </a:cubicBezTo>
                    <a:cubicBezTo>
                      <a:pt x="241437" y="54702"/>
                      <a:pt x="240424" y="51020"/>
                      <a:pt x="242557" y="47660"/>
                    </a:cubicBezTo>
                    <a:cubicBezTo>
                      <a:pt x="244751" y="44208"/>
                      <a:pt x="247758" y="41952"/>
                      <a:pt x="252115" y="42612"/>
                    </a:cubicBezTo>
                    <a:cubicBezTo>
                      <a:pt x="258053" y="43533"/>
                      <a:pt x="260876" y="47537"/>
                      <a:pt x="261720" y="53076"/>
                    </a:cubicBezTo>
                    <a:cubicBezTo>
                      <a:pt x="264497" y="71334"/>
                      <a:pt x="269806" y="88963"/>
                      <a:pt x="274931" y="106639"/>
                    </a:cubicBezTo>
                    <a:cubicBezTo>
                      <a:pt x="276434" y="111763"/>
                      <a:pt x="278107" y="116796"/>
                      <a:pt x="279748" y="122043"/>
                    </a:cubicBezTo>
                    <a:close/>
                    <a:moveTo>
                      <a:pt x="217839" y="307694"/>
                    </a:moveTo>
                    <a:cubicBezTo>
                      <a:pt x="217839" y="307725"/>
                      <a:pt x="217839" y="307756"/>
                      <a:pt x="217839" y="307786"/>
                    </a:cubicBezTo>
                    <a:cubicBezTo>
                      <a:pt x="225725" y="307786"/>
                      <a:pt x="233627" y="307817"/>
                      <a:pt x="241513" y="307771"/>
                    </a:cubicBezTo>
                    <a:cubicBezTo>
                      <a:pt x="244705" y="307756"/>
                      <a:pt x="246884" y="306574"/>
                      <a:pt x="244459" y="303199"/>
                    </a:cubicBezTo>
                    <a:cubicBezTo>
                      <a:pt x="237908" y="294054"/>
                      <a:pt x="230021" y="285815"/>
                      <a:pt x="218161" y="285585"/>
                    </a:cubicBezTo>
                    <a:cubicBezTo>
                      <a:pt x="206025" y="285339"/>
                      <a:pt x="197264" y="292459"/>
                      <a:pt x="191050" y="302692"/>
                    </a:cubicBezTo>
                    <a:cubicBezTo>
                      <a:pt x="188703" y="306559"/>
                      <a:pt x="190436" y="307694"/>
                      <a:pt x="194165" y="307694"/>
                    </a:cubicBezTo>
                    <a:cubicBezTo>
                      <a:pt x="202051" y="307694"/>
                      <a:pt x="209937" y="307694"/>
                      <a:pt x="217839" y="307694"/>
                    </a:cubicBezTo>
                    <a:close/>
                  </a:path>
                </a:pathLst>
              </a:custGeom>
              <a:solidFill>
                <a:srgbClr val="0971CA"/>
              </a:solidFill>
              <a:ln w="1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9142708" y="5324475"/>
              <a:ext cx="1226415" cy="455617"/>
              <a:chOff x="8926425" y="5324475"/>
              <a:chExt cx="1226415" cy="455617"/>
            </a:xfrm>
          </p:grpSpPr>
          <p:grpSp>
            <p:nvGrpSpPr>
              <p:cNvPr id="140" name="组合 139"/>
              <p:cNvGrpSpPr/>
              <p:nvPr/>
            </p:nvGrpSpPr>
            <p:grpSpPr>
              <a:xfrm>
                <a:off x="8926425" y="5324475"/>
                <a:ext cx="1226415" cy="455617"/>
                <a:chOff x="7764687" y="5324475"/>
                <a:chExt cx="1226415" cy="455617"/>
              </a:xfrm>
            </p:grpSpPr>
            <p:sp>
              <p:nvSpPr>
                <p:cNvPr id="141" name="椭圆 140"/>
                <p:cNvSpPr/>
                <p:nvPr/>
              </p:nvSpPr>
              <p:spPr>
                <a:xfrm>
                  <a:off x="7764687" y="5324475"/>
                  <a:ext cx="455617" cy="455617"/>
                </a:xfrm>
                <a:prstGeom prst="ellipse">
                  <a:avLst/>
                </a:prstGeom>
                <a:solidFill>
                  <a:srgbClr val="EFF7F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42" name="文本框 141"/>
                <p:cNvSpPr txBox="1"/>
                <p:nvPr/>
              </p:nvSpPr>
              <p:spPr>
                <a:xfrm>
                  <a:off x="8264821" y="5403233"/>
                  <a:ext cx="726281" cy="30777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zh-CN" altLang="en-US" sz="1400">
                      <a:gradFill>
                        <a:gsLst>
                          <a:gs pos="0">
                            <a:schemeClr val="tx1"/>
                          </a:gs>
                          <a:gs pos="100000">
                            <a:schemeClr val="tx1"/>
                          </a:gs>
                        </a:gsLst>
                        <a:lin ang="5400000" scaled="0"/>
                      </a:gradFill>
                      <a:latin typeface="+mn-ea"/>
                    </a:rPr>
                    <a:t>咽痒</a:t>
                  </a:r>
                  <a:endParaRPr lang="zh-CN" altLang="en-US" sz="1400"/>
                </a:p>
              </p:txBody>
            </p:sp>
          </p:grpSp>
          <p:grpSp>
            <p:nvGrpSpPr>
              <p:cNvPr id="149" name="组合 148"/>
              <p:cNvGrpSpPr/>
              <p:nvPr/>
            </p:nvGrpSpPr>
            <p:grpSpPr>
              <a:xfrm>
                <a:off x="9018843" y="5442844"/>
                <a:ext cx="270780" cy="248478"/>
                <a:chOff x="12562316" y="6499300"/>
                <a:chExt cx="441435" cy="405078"/>
              </a:xfrm>
            </p:grpSpPr>
            <p:sp>
              <p:nvSpPr>
                <p:cNvPr id="150" name="任意多边形: 形状 149"/>
                <p:cNvSpPr/>
                <p:nvPr/>
              </p:nvSpPr>
              <p:spPr>
                <a:xfrm>
                  <a:off x="12734586" y="6741614"/>
                  <a:ext cx="37359" cy="125746"/>
                </a:xfrm>
                <a:custGeom>
                  <a:avLst/>
                  <a:gdLst>
                    <a:gd name="csX0" fmla="*/ 26279 w 42895"/>
                    <a:gd name="csY0" fmla="*/ 103708 h 144380"/>
                    <a:gd name="csX1" fmla="*/ 20617 w 42895"/>
                    <a:gd name="csY1" fmla="*/ 89884 h 144380"/>
                    <a:gd name="csX2" fmla="*/ 8757 w 42895"/>
                    <a:gd name="csY2" fmla="*/ 75829 h 144380"/>
                    <a:gd name="csX3" fmla="*/ 5919 w 42895"/>
                    <a:gd name="csY3" fmla="*/ 32945 h 144380"/>
                    <a:gd name="csX4" fmla="*/ 26080 w 42895"/>
                    <a:gd name="csY4" fmla="*/ 3119 h 144380"/>
                    <a:gd name="csX5" fmla="*/ 34871 w 42895"/>
                    <a:gd name="csY5" fmla="*/ 848 h 144380"/>
                    <a:gd name="csX6" fmla="*/ 39582 w 42895"/>
                    <a:gd name="csY6" fmla="*/ 10468 h 144380"/>
                    <a:gd name="csX7" fmla="*/ 34104 w 42895"/>
                    <a:gd name="csY7" fmla="*/ 20410 h 144380"/>
                    <a:gd name="csX8" fmla="*/ 19114 w 42895"/>
                    <a:gd name="csY8" fmla="*/ 41645 h 144380"/>
                    <a:gd name="csX9" fmla="*/ 22873 w 42895"/>
                    <a:gd name="csY9" fmla="*/ 70091 h 144380"/>
                    <a:gd name="csX10" fmla="*/ 32278 w 42895"/>
                    <a:gd name="csY10" fmla="*/ 81215 h 144380"/>
                    <a:gd name="csX11" fmla="*/ 34380 w 42895"/>
                    <a:gd name="csY11" fmla="*/ 127045 h 144380"/>
                    <a:gd name="csX12" fmla="*/ 23594 w 42895"/>
                    <a:gd name="csY12" fmla="*/ 140945 h 144380"/>
                    <a:gd name="csX13" fmla="*/ 12793 w 42895"/>
                    <a:gd name="csY13" fmla="*/ 142480 h 144380"/>
                    <a:gd name="csX14" fmla="*/ 11841 w 42895"/>
                    <a:gd name="csY14" fmla="*/ 130819 h 144380"/>
                    <a:gd name="csX15" fmla="*/ 22443 w 42895"/>
                    <a:gd name="csY15" fmla="*/ 116765 h 144380"/>
                    <a:gd name="csX16" fmla="*/ 26279 w 42895"/>
                    <a:gd name="csY16" fmla="*/ 103708 h 14438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</a:cxnLst>
                  <a:rect l="l" t="t" r="r" b="b"/>
                  <a:pathLst>
                    <a:path w="42895" h="144380">
                      <a:moveTo>
                        <a:pt x="26279" y="103708"/>
                      </a:moveTo>
                      <a:cubicBezTo>
                        <a:pt x="26571" y="98215"/>
                        <a:pt x="24008" y="93873"/>
                        <a:pt x="20617" y="89884"/>
                      </a:cubicBezTo>
                      <a:cubicBezTo>
                        <a:pt x="16644" y="85204"/>
                        <a:pt x="12562" y="80632"/>
                        <a:pt x="8757" y="75829"/>
                      </a:cubicBezTo>
                      <a:cubicBezTo>
                        <a:pt x="-2029" y="62220"/>
                        <a:pt x="-2704" y="47583"/>
                        <a:pt x="5919" y="32945"/>
                      </a:cubicBezTo>
                      <a:cubicBezTo>
                        <a:pt x="11995" y="22620"/>
                        <a:pt x="19267" y="13000"/>
                        <a:pt x="26080" y="3119"/>
                      </a:cubicBezTo>
                      <a:cubicBezTo>
                        <a:pt x="28289" y="-88"/>
                        <a:pt x="31496" y="-779"/>
                        <a:pt x="34871" y="848"/>
                      </a:cubicBezTo>
                      <a:cubicBezTo>
                        <a:pt x="38830" y="2735"/>
                        <a:pt x="40134" y="6387"/>
                        <a:pt x="39582" y="10468"/>
                      </a:cubicBezTo>
                      <a:cubicBezTo>
                        <a:pt x="39060" y="14380"/>
                        <a:pt x="36513" y="17403"/>
                        <a:pt x="34104" y="20410"/>
                      </a:cubicBezTo>
                      <a:cubicBezTo>
                        <a:pt x="28688" y="27176"/>
                        <a:pt x="22904" y="33667"/>
                        <a:pt x="19114" y="41645"/>
                      </a:cubicBezTo>
                      <a:cubicBezTo>
                        <a:pt x="14158" y="52063"/>
                        <a:pt x="15401" y="61422"/>
                        <a:pt x="22873" y="70091"/>
                      </a:cubicBezTo>
                      <a:cubicBezTo>
                        <a:pt x="26049" y="73773"/>
                        <a:pt x="29194" y="77456"/>
                        <a:pt x="32278" y="81215"/>
                      </a:cubicBezTo>
                      <a:cubicBezTo>
                        <a:pt x="45749" y="97663"/>
                        <a:pt x="46348" y="109446"/>
                        <a:pt x="34380" y="127045"/>
                      </a:cubicBezTo>
                      <a:cubicBezTo>
                        <a:pt x="31081" y="131893"/>
                        <a:pt x="27476" y="136557"/>
                        <a:pt x="23594" y="140945"/>
                      </a:cubicBezTo>
                      <a:cubicBezTo>
                        <a:pt x="20664" y="144259"/>
                        <a:pt x="16736" y="145916"/>
                        <a:pt x="12793" y="142480"/>
                      </a:cubicBezTo>
                      <a:cubicBezTo>
                        <a:pt x="8895" y="139089"/>
                        <a:pt x="8972" y="135038"/>
                        <a:pt x="11841" y="130819"/>
                      </a:cubicBezTo>
                      <a:cubicBezTo>
                        <a:pt x="15140" y="125971"/>
                        <a:pt x="19697" y="122089"/>
                        <a:pt x="22443" y="116765"/>
                      </a:cubicBezTo>
                      <a:cubicBezTo>
                        <a:pt x="24576" y="112622"/>
                        <a:pt x="26310" y="108464"/>
                        <a:pt x="26279" y="103708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/>
                <p:cNvSpPr/>
                <p:nvPr/>
              </p:nvSpPr>
              <p:spPr>
                <a:xfrm>
                  <a:off x="12811806" y="6743862"/>
                  <a:ext cx="35619" cy="124860"/>
                </a:xfrm>
                <a:custGeom>
                  <a:avLst/>
                  <a:gdLst>
                    <a:gd name="csX0" fmla="*/ 40891 w 40897"/>
                    <a:gd name="csY0" fmla="*/ 105299 h 143363"/>
                    <a:gd name="csX1" fmla="*/ 21206 w 40897"/>
                    <a:gd name="csY1" fmla="*/ 140051 h 143363"/>
                    <a:gd name="csX2" fmla="*/ 8931 w 40897"/>
                    <a:gd name="csY2" fmla="*/ 140910 h 143363"/>
                    <a:gd name="csX3" fmla="*/ 10481 w 40897"/>
                    <a:gd name="csY3" fmla="*/ 129511 h 143363"/>
                    <a:gd name="csX4" fmla="*/ 21052 w 40897"/>
                    <a:gd name="csY4" fmla="*/ 116454 h 143363"/>
                    <a:gd name="csX5" fmla="*/ 20531 w 40897"/>
                    <a:gd name="csY5" fmla="*/ 87087 h 143363"/>
                    <a:gd name="csX6" fmla="*/ 7919 w 40897"/>
                    <a:gd name="csY6" fmla="*/ 70716 h 143363"/>
                    <a:gd name="csX7" fmla="*/ 6231 w 40897"/>
                    <a:gd name="csY7" fmla="*/ 29336 h 143363"/>
                    <a:gd name="csX8" fmla="*/ 24965 w 40897"/>
                    <a:gd name="csY8" fmla="*/ 4188 h 143363"/>
                    <a:gd name="csX9" fmla="*/ 33219 w 40897"/>
                    <a:gd name="csY9" fmla="*/ 752 h 143363"/>
                    <a:gd name="csX10" fmla="*/ 37101 w 40897"/>
                    <a:gd name="csY10" fmla="*/ 11354 h 143363"/>
                    <a:gd name="csX11" fmla="*/ 30166 w 40897"/>
                    <a:gd name="csY11" fmla="*/ 22293 h 143363"/>
                    <a:gd name="csX12" fmla="*/ 30289 w 40897"/>
                    <a:gd name="csY12" fmla="*/ 74582 h 143363"/>
                    <a:gd name="csX13" fmla="*/ 40891 w 40897"/>
                    <a:gd name="csY13" fmla="*/ 105299 h 14336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</a:cxnLst>
                  <a:rect l="l" t="t" r="r" b="b"/>
                  <a:pathLst>
                    <a:path w="40897" h="143363">
                      <a:moveTo>
                        <a:pt x="40891" y="105299"/>
                      </a:moveTo>
                      <a:cubicBezTo>
                        <a:pt x="39909" y="116699"/>
                        <a:pt x="32636" y="129465"/>
                        <a:pt x="21206" y="140051"/>
                      </a:cubicBezTo>
                      <a:cubicBezTo>
                        <a:pt x="17569" y="143411"/>
                        <a:pt x="13181" y="145038"/>
                        <a:pt x="8931" y="140910"/>
                      </a:cubicBezTo>
                      <a:cubicBezTo>
                        <a:pt x="4513" y="136614"/>
                        <a:pt x="7888" y="132932"/>
                        <a:pt x="10481" y="129511"/>
                      </a:cubicBezTo>
                      <a:cubicBezTo>
                        <a:pt x="13872" y="125061"/>
                        <a:pt x="17922" y="121072"/>
                        <a:pt x="21052" y="116454"/>
                      </a:cubicBezTo>
                      <a:cubicBezTo>
                        <a:pt x="27251" y="107309"/>
                        <a:pt x="26959" y="96032"/>
                        <a:pt x="20531" y="87087"/>
                      </a:cubicBezTo>
                      <a:cubicBezTo>
                        <a:pt x="16511" y="81502"/>
                        <a:pt x="12015" y="76255"/>
                        <a:pt x="7919" y="70716"/>
                      </a:cubicBezTo>
                      <a:cubicBezTo>
                        <a:pt x="-1886" y="57444"/>
                        <a:pt x="-2745" y="43144"/>
                        <a:pt x="6231" y="29336"/>
                      </a:cubicBezTo>
                      <a:cubicBezTo>
                        <a:pt x="11923" y="20590"/>
                        <a:pt x="18628" y="12504"/>
                        <a:pt x="24965" y="4188"/>
                      </a:cubicBezTo>
                      <a:cubicBezTo>
                        <a:pt x="27005" y="1519"/>
                        <a:pt x="29430" y="-1412"/>
                        <a:pt x="33219" y="752"/>
                      </a:cubicBezTo>
                      <a:cubicBezTo>
                        <a:pt x="37239" y="3038"/>
                        <a:pt x="38421" y="6996"/>
                        <a:pt x="37101" y="11354"/>
                      </a:cubicBezTo>
                      <a:cubicBezTo>
                        <a:pt x="35812" y="15573"/>
                        <a:pt x="32774" y="18826"/>
                        <a:pt x="30166" y="22293"/>
                      </a:cubicBezTo>
                      <a:cubicBezTo>
                        <a:pt x="11417" y="47180"/>
                        <a:pt x="11417" y="50049"/>
                        <a:pt x="30289" y="74582"/>
                      </a:cubicBezTo>
                      <a:cubicBezTo>
                        <a:pt x="39157" y="86090"/>
                        <a:pt x="41029" y="90708"/>
                        <a:pt x="40891" y="105299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/>
                <p:cNvSpPr/>
                <p:nvPr/>
              </p:nvSpPr>
              <p:spPr>
                <a:xfrm>
                  <a:off x="12773281" y="6742348"/>
                  <a:ext cx="35979" cy="127768"/>
                </a:xfrm>
                <a:custGeom>
                  <a:avLst/>
                  <a:gdLst>
                    <a:gd name="csX0" fmla="*/ 40338 w 41311"/>
                    <a:gd name="csY0" fmla="*/ 8566 h 146702"/>
                    <a:gd name="csX1" fmla="*/ 34600 w 41311"/>
                    <a:gd name="csY1" fmla="*/ 19092 h 146702"/>
                    <a:gd name="csX2" fmla="*/ 20024 w 41311"/>
                    <a:gd name="csY2" fmla="*/ 37764 h 146702"/>
                    <a:gd name="csX3" fmla="*/ 22218 w 41311"/>
                    <a:gd name="csY3" fmla="*/ 68450 h 146702"/>
                    <a:gd name="csX4" fmla="*/ 33050 w 41311"/>
                    <a:gd name="csY4" fmla="*/ 82336 h 146702"/>
                    <a:gd name="csX5" fmla="*/ 35812 w 41311"/>
                    <a:gd name="csY5" fmla="*/ 123026 h 146702"/>
                    <a:gd name="csX6" fmla="*/ 19548 w 41311"/>
                    <a:gd name="csY6" fmla="*/ 143232 h 146702"/>
                    <a:gd name="csX7" fmla="*/ 8931 w 41311"/>
                    <a:gd name="csY7" fmla="*/ 144659 h 146702"/>
                    <a:gd name="csX8" fmla="*/ 9284 w 41311"/>
                    <a:gd name="csY8" fmla="*/ 133796 h 146702"/>
                    <a:gd name="csX9" fmla="*/ 21451 w 41311"/>
                    <a:gd name="csY9" fmla="*/ 117088 h 146702"/>
                    <a:gd name="csX10" fmla="*/ 20822 w 41311"/>
                    <a:gd name="csY10" fmla="*/ 89992 h 146702"/>
                    <a:gd name="csX11" fmla="*/ 5648 w 41311"/>
                    <a:gd name="csY11" fmla="*/ 68834 h 146702"/>
                    <a:gd name="csX12" fmla="*/ 4205 w 41311"/>
                    <a:gd name="csY12" fmla="*/ 36261 h 146702"/>
                    <a:gd name="csX13" fmla="*/ 26882 w 41311"/>
                    <a:gd name="csY13" fmla="*/ 3564 h 146702"/>
                    <a:gd name="csX14" fmla="*/ 35628 w 41311"/>
                    <a:gd name="csY14" fmla="*/ 526 h 146702"/>
                    <a:gd name="csX15" fmla="*/ 40338 w 41311"/>
                    <a:gd name="csY15" fmla="*/ 8566 h 1467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</a:cxnLst>
                  <a:rect l="l" t="t" r="r" b="b"/>
                  <a:pathLst>
                    <a:path w="41311" h="146702">
                      <a:moveTo>
                        <a:pt x="40338" y="8566"/>
                      </a:moveTo>
                      <a:cubicBezTo>
                        <a:pt x="40062" y="12970"/>
                        <a:pt x="37408" y="16054"/>
                        <a:pt x="34600" y="19092"/>
                      </a:cubicBezTo>
                      <a:cubicBezTo>
                        <a:pt x="29230" y="24907"/>
                        <a:pt x="24059" y="30860"/>
                        <a:pt x="20024" y="37764"/>
                      </a:cubicBezTo>
                      <a:cubicBezTo>
                        <a:pt x="13703" y="48581"/>
                        <a:pt x="14838" y="58707"/>
                        <a:pt x="22218" y="68450"/>
                      </a:cubicBezTo>
                      <a:cubicBezTo>
                        <a:pt x="25762" y="73130"/>
                        <a:pt x="29506" y="77656"/>
                        <a:pt x="33050" y="82336"/>
                      </a:cubicBezTo>
                      <a:cubicBezTo>
                        <a:pt x="42839" y="95285"/>
                        <a:pt x="44143" y="108787"/>
                        <a:pt x="35812" y="123026"/>
                      </a:cubicBezTo>
                      <a:cubicBezTo>
                        <a:pt x="31378" y="130590"/>
                        <a:pt x="26023" y="137341"/>
                        <a:pt x="19548" y="143232"/>
                      </a:cubicBezTo>
                      <a:cubicBezTo>
                        <a:pt x="16342" y="146148"/>
                        <a:pt x="13074" y="148587"/>
                        <a:pt x="8931" y="144659"/>
                      </a:cubicBezTo>
                      <a:cubicBezTo>
                        <a:pt x="4972" y="140900"/>
                        <a:pt x="6660" y="137356"/>
                        <a:pt x="9284" y="133796"/>
                      </a:cubicBezTo>
                      <a:cubicBezTo>
                        <a:pt x="13365" y="128242"/>
                        <a:pt x="17615" y="122795"/>
                        <a:pt x="21451" y="117088"/>
                      </a:cubicBezTo>
                      <a:cubicBezTo>
                        <a:pt x="27557" y="108005"/>
                        <a:pt x="27205" y="98876"/>
                        <a:pt x="20822" y="89992"/>
                      </a:cubicBezTo>
                      <a:cubicBezTo>
                        <a:pt x="15759" y="82949"/>
                        <a:pt x="10496" y="76030"/>
                        <a:pt x="5648" y="68834"/>
                      </a:cubicBezTo>
                      <a:cubicBezTo>
                        <a:pt x="-1410" y="58354"/>
                        <a:pt x="-1809" y="47476"/>
                        <a:pt x="4205" y="36261"/>
                      </a:cubicBezTo>
                      <a:cubicBezTo>
                        <a:pt x="10527" y="24492"/>
                        <a:pt x="18919" y="14182"/>
                        <a:pt x="26882" y="3564"/>
                      </a:cubicBezTo>
                      <a:cubicBezTo>
                        <a:pt x="28984" y="772"/>
                        <a:pt x="31961" y="-916"/>
                        <a:pt x="35628" y="526"/>
                      </a:cubicBezTo>
                      <a:cubicBezTo>
                        <a:pt x="39187" y="1938"/>
                        <a:pt x="40354" y="4961"/>
                        <a:pt x="40338" y="8566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/>
                <p:cNvSpPr/>
                <p:nvPr/>
              </p:nvSpPr>
              <p:spPr>
                <a:xfrm>
                  <a:off x="12562316" y="6499300"/>
                  <a:ext cx="441435" cy="405078"/>
                </a:xfrm>
                <a:custGeom>
                  <a:avLst/>
                  <a:gdLst>
                    <a:gd name="csX0" fmla="*/ 117826 w 506850"/>
                    <a:gd name="csY0" fmla="*/ 188161 h 465105"/>
                    <a:gd name="csX1" fmla="*/ 123488 w 506850"/>
                    <a:gd name="csY1" fmla="*/ 232656 h 465105"/>
                    <a:gd name="csX2" fmla="*/ 125099 w 506850"/>
                    <a:gd name="csY2" fmla="*/ 328335 h 465105"/>
                    <a:gd name="csX3" fmla="*/ 107991 w 506850"/>
                    <a:gd name="csY3" fmla="*/ 437915 h 465105"/>
                    <a:gd name="csX4" fmla="*/ 100811 w 506850"/>
                    <a:gd name="csY4" fmla="*/ 458920 h 465105"/>
                    <a:gd name="csX5" fmla="*/ 89856 w 506850"/>
                    <a:gd name="csY5" fmla="*/ 464106 h 465105"/>
                    <a:gd name="csX6" fmla="*/ 82875 w 506850"/>
                    <a:gd name="csY6" fmla="*/ 451248 h 465105"/>
                    <a:gd name="csX7" fmla="*/ 103726 w 506850"/>
                    <a:gd name="csY7" fmla="*/ 347775 h 465105"/>
                    <a:gd name="csX8" fmla="*/ 105076 w 506850"/>
                    <a:gd name="csY8" fmla="*/ 258171 h 465105"/>
                    <a:gd name="csX9" fmla="*/ 96653 w 506850"/>
                    <a:gd name="csY9" fmla="*/ 182085 h 465105"/>
                    <a:gd name="csX10" fmla="*/ 91390 w 506850"/>
                    <a:gd name="csY10" fmla="*/ 173293 h 465105"/>
                    <a:gd name="csX11" fmla="*/ 605 w 506850"/>
                    <a:gd name="csY11" fmla="*/ 18328 h 465105"/>
                    <a:gd name="csX12" fmla="*/ 7 w 506850"/>
                    <a:gd name="csY12" fmla="*/ 12237 h 465105"/>
                    <a:gd name="csX13" fmla="*/ 9658 w 506850"/>
                    <a:gd name="csY13" fmla="*/ 101 h 465105"/>
                    <a:gd name="csX14" fmla="*/ 20306 w 506850"/>
                    <a:gd name="csY14" fmla="*/ 10749 h 465105"/>
                    <a:gd name="csX15" fmla="*/ 35035 w 506850"/>
                    <a:gd name="csY15" fmla="*/ 66153 h 465105"/>
                    <a:gd name="csX16" fmla="*/ 179076 w 506850"/>
                    <a:gd name="csY16" fmla="*/ 188376 h 465105"/>
                    <a:gd name="csX17" fmla="*/ 362824 w 506850"/>
                    <a:gd name="csY17" fmla="*/ 177605 h 465105"/>
                    <a:gd name="csX18" fmla="*/ 471821 w 506850"/>
                    <a:gd name="csY18" fmla="*/ 64665 h 465105"/>
                    <a:gd name="csX19" fmla="*/ 485477 w 506850"/>
                    <a:gd name="csY19" fmla="*/ 15260 h 465105"/>
                    <a:gd name="csX20" fmla="*/ 488147 w 506850"/>
                    <a:gd name="csY20" fmla="*/ 5716 h 465105"/>
                    <a:gd name="csX21" fmla="*/ 498841 w 506850"/>
                    <a:gd name="csY21" fmla="*/ 178 h 465105"/>
                    <a:gd name="csX22" fmla="*/ 506773 w 506850"/>
                    <a:gd name="csY22" fmla="*/ 9138 h 465105"/>
                    <a:gd name="csX23" fmla="*/ 506343 w 506850"/>
                    <a:gd name="csY23" fmla="*/ 17531 h 465105"/>
                    <a:gd name="csX24" fmla="*/ 433126 w 506850"/>
                    <a:gd name="csY24" fmla="*/ 158625 h 465105"/>
                    <a:gd name="csX25" fmla="*/ 432022 w 506850"/>
                    <a:gd name="csY25" fmla="*/ 159669 h 465105"/>
                    <a:gd name="csX26" fmla="*/ 407058 w 506850"/>
                    <a:gd name="csY26" fmla="*/ 209871 h 465105"/>
                    <a:gd name="csX27" fmla="*/ 402778 w 506850"/>
                    <a:gd name="csY27" fmla="*/ 300917 h 465105"/>
                    <a:gd name="csX28" fmla="*/ 425056 w 506850"/>
                    <a:gd name="csY28" fmla="*/ 446630 h 465105"/>
                    <a:gd name="csX29" fmla="*/ 426299 w 506850"/>
                    <a:gd name="csY29" fmla="*/ 451064 h 465105"/>
                    <a:gd name="csX30" fmla="*/ 419379 w 506850"/>
                    <a:gd name="csY30" fmla="*/ 463983 h 465105"/>
                    <a:gd name="csX31" fmla="*/ 407703 w 506850"/>
                    <a:gd name="csY31" fmla="*/ 457125 h 465105"/>
                    <a:gd name="csX32" fmla="*/ 393066 w 506850"/>
                    <a:gd name="csY32" fmla="*/ 404744 h 465105"/>
                    <a:gd name="csX33" fmla="*/ 383154 w 506850"/>
                    <a:gd name="csY33" fmla="*/ 260657 h 465105"/>
                    <a:gd name="csX34" fmla="*/ 389399 w 506850"/>
                    <a:gd name="csY34" fmla="*/ 194329 h 465105"/>
                    <a:gd name="csX35" fmla="*/ 388662 w 506850"/>
                    <a:gd name="csY35" fmla="*/ 189281 h 465105"/>
                    <a:gd name="csX36" fmla="*/ 383676 w 506850"/>
                    <a:gd name="csY36" fmla="*/ 190155 h 465105"/>
                    <a:gd name="csX37" fmla="*/ 235293 w 506850"/>
                    <a:gd name="csY37" fmla="*/ 217129 h 465105"/>
                    <a:gd name="csX38" fmla="*/ 122168 w 506850"/>
                    <a:gd name="csY38" fmla="*/ 189327 h 465105"/>
                    <a:gd name="csX39" fmla="*/ 117826 w 506850"/>
                    <a:gd name="csY39" fmla="*/ 188161 h 46510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  <a:cxn ang="0">
                      <a:pos x="csX30" y="csY30"/>
                    </a:cxn>
                    <a:cxn ang="0">
                      <a:pos x="csX31" y="csY31"/>
                    </a:cxn>
                    <a:cxn ang="0">
                      <a:pos x="csX32" y="csY32"/>
                    </a:cxn>
                    <a:cxn ang="0">
                      <a:pos x="csX33" y="csY33"/>
                    </a:cxn>
                    <a:cxn ang="0">
                      <a:pos x="csX34" y="csY34"/>
                    </a:cxn>
                    <a:cxn ang="0">
                      <a:pos x="csX35" y="csY35"/>
                    </a:cxn>
                    <a:cxn ang="0">
                      <a:pos x="csX36" y="csY36"/>
                    </a:cxn>
                    <a:cxn ang="0">
                      <a:pos x="csX37" y="csY37"/>
                    </a:cxn>
                    <a:cxn ang="0">
                      <a:pos x="csX38" y="csY38"/>
                    </a:cxn>
                    <a:cxn ang="0">
                      <a:pos x="csX39" y="csY39"/>
                    </a:cxn>
                  </a:cxnLst>
                  <a:rect l="l" t="t" r="r" b="b"/>
                  <a:pathLst>
                    <a:path w="506850" h="465105">
                      <a:moveTo>
                        <a:pt x="117826" y="188161"/>
                      </a:moveTo>
                      <a:cubicBezTo>
                        <a:pt x="119959" y="203427"/>
                        <a:pt x="122138" y="217988"/>
                        <a:pt x="123488" y="232656"/>
                      </a:cubicBezTo>
                      <a:cubicBezTo>
                        <a:pt x="126434" y="264523"/>
                        <a:pt x="126587" y="296360"/>
                        <a:pt x="125099" y="328335"/>
                      </a:cubicBezTo>
                      <a:cubicBezTo>
                        <a:pt x="123365" y="365557"/>
                        <a:pt x="117351" y="401966"/>
                        <a:pt x="107991" y="437915"/>
                      </a:cubicBezTo>
                      <a:cubicBezTo>
                        <a:pt x="106119" y="445096"/>
                        <a:pt x="104110" y="452246"/>
                        <a:pt x="100811" y="458920"/>
                      </a:cubicBezTo>
                      <a:cubicBezTo>
                        <a:pt x="98586" y="463415"/>
                        <a:pt x="95165" y="466898"/>
                        <a:pt x="89856" y="464106"/>
                      </a:cubicBezTo>
                      <a:cubicBezTo>
                        <a:pt x="84992" y="461559"/>
                        <a:pt x="80727" y="457785"/>
                        <a:pt x="82875" y="451248"/>
                      </a:cubicBezTo>
                      <a:cubicBezTo>
                        <a:pt x="93952" y="417586"/>
                        <a:pt x="100504" y="382987"/>
                        <a:pt x="103726" y="347775"/>
                      </a:cubicBezTo>
                      <a:cubicBezTo>
                        <a:pt x="106442" y="317979"/>
                        <a:pt x="106350" y="288106"/>
                        <a:pt x="105076" y="258171"/>
                      </a:cubicBezTo>
                      <a:cubicBezTo>
                        <a:pt x="103987" y="232564"/>
                        <a:pt x="100504" y="207324"/>
                        <a:pt x="96653" y="182085"/>
                      </a:cubicBezTo>
                      <a:cubicBezTo>
                        <a:pt x="96054" y="178173"/>
                        <a:pt x="94413" y="175580"/>
                        <a:pt x="91390" y="173293"/>
                      </a:cubicBezTo>
                      <a:cubicBezTo>
                        <a:pt x="39684" y="134215"/>
                        <a:pt x="12312" y="80851"/>
                        <a:pt x="605" y="18328"/>
                      </a:cubicBezTo>
                      <a:cubicBezTo>
                        <a:pt x="237" y="16334"/>
                        <a:pt x="53" y="14278"/>
                        <a:pt x="7" y="12237"/>
                      </a:cubicBezTo>
                      <a:cubicBezTo>
                        <a:pt x="-177" y="4827"/>
                        <a:pt x="3367" y="193"/>
                        <a:pt x="9658" y="101"/>
                      </a:cubicBezTo>
                      <a:cubicBezTo>
                        <a:pt x="16654" y="9"/>
                        <a:pt x="19585" y="4397"/>
                        <a:pt x="20306" y="10749"/>
                      </a:cubicBezTo>
                      <a:cubicBezTo>
                        <a:pt x="22484" y="29943"/>
                        <a:pt x="27762" y="48324"/>
                        <a:pt x="35035" y="66153"/>
                      </a:cubicBezTo>
                      <a:cubicBezTo>
                        <a:pt x="61839" y="131852"/>
                        <a:pt x="110017" y="172557"/>
                        <a:pt x="179076" y="188376"/>
                      </a:cubicBezTo>
                      <a:cubicBezTo>
                        <a:pt x="241323" y="202629"/>
                        <a:pt x="302680" y="201295"/>
                        <a:pt x="362824" y="177605"/>
                      </a:cubicBezTo>
                      <a:cubicBezTo>
                        <a:pt x="416433" y="156477"/>
                        <a:pt x="450970" y="117215"/>
                        <a:pt x="471821" y="64665"/>
                      </a:cubicBezTo>
                      <a:cubicBezTo>
                        <a:pt x="478158" y="48708"/>
                        <a:pt x="482746" y="32229"/>
                        <a:pt x="485477" y="15260"/>
                      </a:cubicBezTo>
                      <a:cubicBezTo>
                        <a:pt x="485998" y="12007"/>
                        <a:pt x="486842" y="8708"/>
                        <a:pt x="488147" y="5716"/>
                      </a:cubicBezTo>
                      <a:cubicBezTo>
                        <a:pt x="490126" y="1190"/>
                        <a:pt x="494054" y="-605"/>
                        <a:pt x="498841" y="178"/>
                      </a:cubicBezTo>
                      <a:cubicBezTo>
                        <a:pt x="503750" y="975"/>
                        <a:pt x="506466" y="4213"/>
                        <a:pt x="506773" y="9138"/>
                      </a:cubicBezTo>
                      <a:cubicBezTo>
                        <a:pt x="506942" y="11915"/>
                        <a:pt x="506850" y="14800"/>
                        <a:pt x="506343" y="17531"/>
                      </a:cubicBezTo>
                      <a:cubicBezTo>
                        <a:pt x="496493" y="72106"/>
                        <a:pt x="473908" y="120099"/>
                        <a:pt x="433126" y="158625"/>
                      </a:cubicBezTo>
                      <a:cubicBezTo>
                        <a:pt x="432758" y="158978"/>
                        <a:pt x="432451" y="159454"/>
                        <a:pt x="432022" y="159669"/>
                      </a:cubicBezTo>
                      <a:cubicBezTo>
                        <a:pt x="411523" y="170378"/>
                        <a:pt x="408669" y="189450"/>
                        <a:pt x="407058" y="209871"/>
                      </a:cubicBezTo>
                      <a:cubicBezTo>
                        <a:pt x="404665" y="240189"/>
                        <a:pt x="401995" y="270538"/>
                        <a:pt x="402778" y="300917"/>
                      </a:cubicBezTo>
                      <a:cubicBezTo>
                        <a:pt x="404066" y="350337"/>
                        <a:pt x="409575" y="399297"/>
                        <a:pt x="425056" y="446630"/>
                      </a:cubicBezTo>
                      <a:cubicBezTo>
                        <a:pt x="425531" y="448088"/>
                        <a:pt x="426022" y="449561"/>
                        <a:pt x="426299" y="451064"/>
                      </a:cubicBezTo>
                      <a:cubicBezTo>
                        <a:pt x="427403" y="457171"/>
                        <a:pt x="425148" y="461804"/>
                        <a:pt x="419379" y="463983"/>
                      </a:cubicBezTo>
                      <a:cubicBezTo>
                        <a:pt x="413027" y="466407"/>
                        <a:pt x="409605" y="462173"/>
                        <a:pt x="407703" y="457125"/>
                      </a:cubicBezTo>
                      <a:cubicBezTo>
                        <a:pt x="401259" y="440125"/>
                        <a:pt x="396625" y="422495"/>
                        <a:pt x="393066" y="404744"/>
                      </a:cubicBezTo>
                      <a:cubicBezTo>
                        <a:pt x="383538" y="357195"/>
                        <a:pt x="380162" y="309156"/>
                        <a:pt x="383154" y="260657"/>
                      </a:cubicBezTo>
                      <a:cubicBezTo>
                        <a:pt x="384519" y="238455"/>
                        <a:pt x="385885" y="216300"/>
                        <a:pt x="389399" y="194329"/>
                      </a:cubicBezTo>
                      <a:cubicBezTo>
                        <a:pt x="389675" y="192610"/>
                        <a:pt x="390288" y="190478"/>
                        <a:pt x="388662" y="189281"/>
                      </a:cubicBezTo>
                      <a:cubicBezTo>
                        <a:pt x="387020" y="188069"/>
                        <a:pt x="385302" y="189404"/>
                        <a:pt x="383676" y="190155"/>
                      </a:cubicBezTo>
                      <a:cubicBezTo>
                        <a:pt x="336557" y="212050"/>
                        <a:pt x="287183" y="220504"/>
                        <a:pt x="235293" y="217129"/>
                      </a:cubicBezTo>
                      <a:cubicBezTo>
                        <a:pt x="195769" y="214551"/>
                        <a:pt x="157933" y="206526"/>
                        <a:pt x="122168" y="189327"/>
                      </a:cubicBezTo>
                      <a:cubicBezTo>
                        <a:pt x="121110" y="188790"/>
                        <a:pt x="119836" y="188667"/>
                        <a:pt x="117826" y="188161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64" name="组合 163"/>
            <p:cNvGrpSpPr/>
            <p:nvPr/>
          </p:nvGrpSpPr>
          <p:grpSpPr>
            <a:xfrm>
              <a:off x="10419945" y="5324475"/>
              <a:ext cx="1226415" cy="455617"/>
              <a:chOff x="10047460" y="5324475"/>
              <a:chExt cx="1226415" cy="455617"/>
            </a:xfrm>
          </p:grpSpPr>
          <p:grpSp>
            <p:nvGrpSpPr>
              <p:cNvPr id="143" name="组合 142"/>
              <p:cNvGrpSpPr/>
              <p:nvPr/>
            </p:nvGrpSpPr>
            <p:grpSpPr>
              <a:xfrm>
                <a:off x="10047460" y="5324475"/>
                <a:ext cx="1226415" cy="455617"/>
                <a:chOff x="7764687" y="5324475"/>
                <a:chExt cx="1226415" cy="455617"/>
              </a:xfrm>
            </p:grpSpPr>
            <p:sp>
              <p:nvSpPr>
                <p:cNvPr id="144" name="椭圆 143"/>
                <p:cNvSpPr/>
                <p:nvPr/>
              </p:nvSpPr>
              <p:spPr>
                <a:xfrm>
                  <a:off x="7764687" y="5324475"/>
                  <a:ext cx="455617" cy="455617"/>
                </a:xfrm>
                <a:prstGeom prst="ellipse">
                  <a:avLst/>
                </a:prstGeom>
                <a:solidFill>
                  <a:srgbClr val="EFF7F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45" name="文本框 144"/>
                <p:cNvSpPr txBox="1"/>
                <p:nvPr/>
              </p:nvSpPr>
              <p:spPr>
                <a:xfrm>
                  <a:off x="8264821" y="5403233"/>
                  <a:ext cx="726281" cy="30670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zh-CN" altLang="en-US" sz="1400"/>
                    <a:t>耳痒</a:t>
                  </a:r>
                  <a:endParaRPr lang="zh-CN" altLang="en-US" sz="1400"/>
                </a:p>
              </p:txBody>
            </p:sp>
          </p:grpSp>
          <p:grpSp>
            <p:nvGrpSpPr>
              <p:cNvPr id="155" name="组合 154"/>
              <p:cNvGrpSpPr/>
              <p:nvPr/>
            </p:nvGrpSpPr>
            <p:grpSpPr>
              <a:xfrm>
                <a:off x="10150884" y="5429473"/>
                <a:ext cx="248767" cy="231593"/>
                <a:chOff x="13242599" y="6493280"/>
                <a:chExt cx="389234" cy="362362"/>
              </a:xfrm>
            </p:grpSpPr>
            <p:sp>
              <p:nvSpPr>
                <p:cNvPr id="156" name="任意多边形: 形状 155"/>
                <p:cNvSpPr/>
                <p:nvPr/>
              </p:nvSpPr>
              <p:spPr>
                <a:xfrm>
                  <a:off x="13336366" y="6514655"/>
                  <a:ext cx="213020" cy="328001"/>
                </a:xfrm>
                <a:custGeom>
                  <a:avLst/>
                  <a:gdLst>
                    <a:gd name="csX0" fmla="*/ 223703 w 244587"/>
                    <a:gd name="csY0" fmla="*/ 143650 h 376606"/>
                    <a:gd name="csX1" fmla="*/ 194413 w 244587"/>
                    <a:gd name="csY1" fmla="*/ 56486 h 376606"/>
                    <a:gd name="csX2" fmla="*/ 54806 w 244587"/>
                    <a:gd name="csY2" fmla="*/ 46421 h 376606"/>
                    <a:gd name="csX3" fmla="*/ 20806 w 244587"/>
                    <a:gd name="csY3" fmla="*/ 102607 h 376606"/>
                    <a:gd name="csX4" fmla="*/ 16341 w 244587"/>
                    <a:gd name="csY4" fmla="*/ 115587 h 376606"/>
                    <a:gd name="csX5" fmla="*/ 7396 w 244587"/>
                    <a:gd name="csY5" fmla="*/ 120083 h 376606"/>
                    <a:gd name="csX6" fmla="*/ 707 w 244587"/>
                    <a:gd name="csY6" fmla="*/ 113516 h 376606"/>
                    <a:gd name="csX7" fmla="*/ 446 w 244587"/>
                    <a:gd name="csY7" fmla="*/ 103681 h 376606"/>
                    <a:gd name="csX8" fmla="*/ 101710 w 244587"/>
                    <a:gd name="csY8" fmla="*/ 1542 h 376606"/>
                    <a:gd name="csX9" fmla="*/ 199783 w 244587"/>
                    <a:gd name="csY9" fmla="*/ 32551 h 376606"/>
                    <a:gd name="csX10" fmla="*/ 244048 w 244587"/>
                    <a:gd name="csY10" fmla="*/ 129013 h 376606"/>
                    <a:gd name="csX11" fmla="*/ 187892 w 244587"/>
                    <a:gd name="csY11" fmla="*/ 281477 h 376606"/>
                    <a:gd name="csX12" fmla="*/ 136984 w 244587"/>
                    <a:gd name="csY12" fmla="*/ 340701 h 376606"/>
                    <a:gd name="csX13" fmla="*/ 79064 w 244587"/>
                    <a:gd name="csY13" fmla="*/ 376159 h 376606"/>
                    <a:gd name="csX14" fmla="*/ 17645 w 244587"/>
                    <a:gd name="csY14" fmla="*/ 342910 h 376606"/>
                    <a:gd name="csX15" fmla="*/ 15221 w 244587"/>
                    <a:gd name="csY15" fmla="*/ 334886 h 376606"/>
                    <a:gd name="csX16" fmla="*/ 20775 w 244587"/>
                    <a:gd name="csY16" fmla="*/ 324192 h 376606"/>
                    <a:gd name="csX17" fmla="*/ 31899 w 244587"/>
                    <a:gd name="csY17" fmla="*/ 328457 h 376606"/>
                    <a:gd name="csX18" fmla="*/ 32712 w 244587"/>
                    <a:gd name="csY18" fmla="*/ 329761 h 376606"/>
                    <a:gd name="csX19" fmla="*/ 116117 w 244587"/>
                    <a:gd name="csY19" fmla="*/ 333689 h 376606"/>
                    <a:gd name="csX20" fmla="*/ 160183 w 244587"/>
                    <a:gd name="csY20" fmla="*/ 281722 h 376606"/>
                    <a:gd name="csX21" fmla="*/ 218962 w 244587"/>
                    <a:gd name="csY21" fmla="*/ 183864 h 376606"/>
                    <a:gd name="csX22" fmla="*/ 223703 w 244587"/>
                    <a:gd name="csY22" fmla="*/ 143650 h 37660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</a:cxnLst>
                  <a:rect l="l" t="t" r="r" b="b"/>
                  <a:pathLst>
                    <a:path w="244587" h="376606">
                      <a:moveTo>
                        <a:pt x="223703" y="143650"/>
                      </a:moveTo>
                      <a:cubicBezTo>
                        <a:pt x="224792" y="109911"/>
                        <a:pt x="215433" y="81050"/>
                        <a:pt x="194413" y="56486"/>
                      </a:cubicBezTo>
                      <a:cubicBezTo>
                        <a:pt x="157912" y="13832"/>
                        <a:pt x="96340" y="7434"/>
                        <a:pt x="54806" y="46421"/>
                      </a:cubicBezTo>
                      <a:cubicBezTo>
                        <a:pt x="38159" y="62056"/>
                        <a:pt x="26130" y="80206"/>
                        <a:pt x="20806" y="102607"/>
                      </a:cubicBezTo>
                      <a:cubicBezTo>
                        <a:pt x="19747" y="107041"/>
                        <a:pt x="18259" y="111460"/>
                        <a:pt x="16341" y="115587"/>
                      </a:cubicBezTo>
                      <a:cubicBezTo>
                        <a:pt x="14715" y="119101"/>
                        <a:pt x="11370" y="120712"/>
                        <a:pt x="7396" y="120083"/>
                      </a:cubicBezTo>
                      <a:cubicBezTo>
                        <a:pt x="3699" y="119500"/>
                        <a:pt x="1735" y="116999"/>
                        <a:pt x="707" y="113516"/>
                      </a:cubicBezTo>
                      <a:cubicBezTo>
                        <a:pt x="-260" y="110233"/>
                        <a:pt x="-122" y="107026"/>
                        <a:pt x="446" y="103681"/>
                      </a:cubicBezTo>
                      <a:cubicBezTo>
                        <a:pt x="9130" y="52113"/>
                        <a:pt x="50280" y="9736"/>
                        <a:pt x="101710" y="1542"/>
                      </a:cubicBezTo>
                      <a:cubicBezTo>
                        <a:pt x="139101" y="-4411"/>
                        <a:pt x="171859" y="7066"/>
                        <a:pt x="199783" y="32551"/>
                      </a:cubicBezTo>
                      <a:cubicBezTo>
                        <a:pt x="228168" y="58465"/>
                        <a:pt x="241271" y="91545"/>
                        <a:pt x="244048" y="129013"/>
                      </a:cubicBezTo>
                      <a:cubicBezTo>
                        <a:pt x="248436" y="188206"/>
                        <a:pt x="225728" y="237764"/>
                        <a:pt x="187892" y="281477"/>
                      </a:cubicBezTo>
                      <a:cubicBezTo>
                        <a:pt x="170861" y="301162"/>
                        <a:pt x="152526" y="319635"/>
                        <a:pt x="136984" y="340701"/>
                      </a:cubicBezTo>
                      <a:cubicBezTo>
                        <a:pt x="122776" y="359956"/>
                        <a:pt x="103705" y="372814"/>
                        <a:pt x="79064" y="376159"/>
                      </a:cubicBezTo>
                      <a:cubicBezTo>
                        <a:pt x="55297" y="379396"/>
                        <a:pt x="27542" y="364743"/>
                        <a:pt x="17645" y="342910"/>
                      </a:cubicBezTo>
                      <a:cubicBezTo>
                        <a:pt x="16495" y="340379"/>
                        <a:pt x="15543" y="337617"/>
                        <a:pt x="15221" y="334886"/>
                      </a:cubicBezTo>
                      <a:cubicBezTo>
                        <a:pt x="14669" y="330237"/>
                        <a:pt x="16080" y="326094"/>
                        <a:pt x="20775" y="324192"/>
                      </a:cubicBezTo>
                      <a:cubicBezTo>
                        <a:pt x="25609" y="322243"/>
                        <a:pt x="29153" y="324545"/>
                        <a:pt x="31899" y="328457"/>
                      </a:cubicBezTo>
                      <a:cubicBezTo>
                        <a:pt x="32191" y="328871"/>
                        <a:pt x="32467" y="329301"/>
                        <a:pt x="32712" y="329761"/>
                      </a:cubicBezTo>
                      <a:cubicBezTo>
                        <a:pt x="52888" y="367950"/>
                        <a:pt x="93808" y="359358"/>
                        <a:pt x="116117" y="333689"/>
                      </a:cubicBezTo>
                      <a:cubicBezTo>
                        <a:pt x="131015" y="316551"/>
                        <a:pt x="143044" y="296896"/>
                        <a:pt x="160183" y="281722"/>
                      </a:cubicBezTo>
                      <a:cubicBezTo>
                        <a:pt x="190101" y="255225"/>
                        <a:pt x="207838" y="221562"/>
                        <a:pt x="218962" y="183864"/>
                      </a:cubicBezTo>
                      <a:cubicBezTo>
                        <a:pt x="222951" y="170285"/>
                        <a:pt x="224117" y="156308"/>
                        <a:pt x="223703" y="143650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/>
                <p:cNvSpPr/>
                <p:nvPr/>
              </p:nvSpPr>
              <p:spPr>
                <a:xfrm>
                  <a:off x="13369321" y="6567920"/>
                  <a:ext cx="130723" cy="185589"/>
                </a:xfrm>
                <a:custGeom>
                  <a:avLst/>
                  <a:gdLst>
                    <a:gd name="csX0" fmla="*/ 77711 w 150094"/>
                    <a:gd name="csY0" fmla="*/ 21090 h 213091"/>
                    <a:gd name="csX1" fmla="*/ 40305 w 150094"/>
                    <a:gd name="csY1" fmla="*/ 46697 h 213091"/>
                    <a:gd name="csX2" fmla="*/ 48437 w 150094"/>
                    <a:gd name="csY2" fmla="*/ 67871 h 213091"/>
                    <a:gd name="csX3" fmla="*/ 65161 w 150094"/>
                    <a:gd name="csY3" fmla="*/ 77230 h 213091"/>
                    <a:gd name="csX4" fmla="*/ 89847 w 150094"/>
                    <a:gd name="csY4" fmla="*/ 141640 h 213091"/>
                    <a:gd name="csX5" fmla="*/ 59990 w 150094"/>
                    <a:gd name="csY5" fmla="*/ 185644 h 213091"/>
                    <a:gd name="csX6" fmla="*/ 39353 w 150094"/>
                    <a:gd name="csY6" fmla="*/ 203918 h 213091"/>
                    <a:gd name="csX7" fmla="*/ 16554 w 150094"/>
                    <a:gd name="csY7" fmla="*/ 213016 h 213091"/>
                    <a:gd name="csX8" fmla="*/ 1594 w 150094"/>
                    <a:gd name="csY8" fmla="*/ 202644 h 213091"/>
                    <a:gd name="csX9" fmla="*/ 4018 w 150094"/>
                    <a:gd name="csY9" fmla="*/ 185368 h 213091"/>
                    <a:gd name="csX10" fmla="*/ 14099 w 150094"/>
                    <a:gd name="csY10" fmla="*/ 175993 h 213091"/>
                    <a:gd name="csX11" fmla="*/ 17781 w 150094"/>
                    <a:gd name="csY11" fmla="*/ 140443 h 213091"/>
                    <a:gd name="csX12" fmla="*/ 25621 w 150094"/>
                    <a:gd name="csY12" fmla="*/ 119684 h 213091"/>
                    <a:gd name="csX13" fmla="*/ 48130 w 150094"/>
                    <a:gd name="csY13" fmla="*/ 122921 h 213091"/>
                    <a:gd name="csX14" fmla="*/ 58072 w 150094"/>
                    <a:gd name="csY14" fmla="*/ 126941 h 213091"/>
                    <a:gd name="csX15" fmla="*/ 70623 w 150094"/>
                    <a:gd name="csY15" fmla="*/ 129719 h 213091"/>
                    <a:gd name="csX16" fmla="*/ 71911 w 150094"/>
                    <a:gd name="csY16" fmla="*/ 115235 h 213091"/>
                    <a:gd name="csX17" fmla="*/ 54881 w 150094"/>
                    <a:gd name="csY17" fmla="*/ 94660 h 213091"/>
                    <a:gd name="csX18" fmla="*/ 42376 w 150094"/>
                    <a:gd name="csY18" fmla="*/ 88814 h 213091"/>
                    <a:gd name="csX19" fmla="*/ 23535 w 150094"/>
                    <a:gd name="csY19" fmla="*/ 35128 h 213091"/>
                    <a:gd name="csX20" fmla="*/ 121807 w 150094"/>
                    <a:gd name="csY20" fmla="*/ 17284 h 213091"/>
                    <a:gd name="csX21" fmla="*/ 149931 w 150094"/>
                    <a:gd name="csY21" fmla="*/ 93800 h 213091"/>
                    <a:gd name="csX22" fmla="*/ 109548 w 150094"/>
                    <a:gd name="csY22" fmla="*/ 183557 h 213091"/>
                    <a:gd name="csX23" fmla="*/ 97366 w 150094"/>
                    <a:gd name="csY23" fmla="*/ 194021 h 213091"/>
                    <a:gd name="csX24" fmla="*/ 85705 w 150094"/>
                    <a:gd name="csY24" fmla="*/ 195847 h 213091"/>
                    <a:gd name="csX25" fmla="*/ 87347 w 150094"/>
                    <a:gd name="csY25" fmla="*/ 184202 h 213091"/>
                    <a:gd name="csX26" fmla="*/ 98332 w 150094"/>
                    <a:gd name="csY26" fmla="*/ 170408 h 213091"/>
                    <a:gd name="csX27" fmla="*/ 129586 w 150094"/>
                    <a:gd name="csY27" fmla="*/ 105507 h 213091"/>
                    <a:gd name="csX28" fmla="*/ 114780 w 150094"/>
                    <a:gd name="csY28" fmla="*/ 39286 h 213091"/>
                    <a:gd name="csX29" fmla="*/ 77711 w 150094"/>
                    <a:gd name="csY29" fmla="*/ 21090 h 213091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  <a:cxn ang="0">
                      <a:pos x="csX12" y="csY12"/>
                    </a:cxn>
                    <a:cxn ang="0">
                      <a:pos x="csX13" y="csY13"/>
                    </a:cxn>
                    <a:cxn ang="0">
                      <a:pos x="csX14" y="csY14"/>
                    </a:cxn>
                    <a:cxn ang="0">
                      <a:pos x="csX15" y="csY15"/>
                    </a:cxn>
                    <a:cxn ang="0">
                      <a:pos x="csX16" y="csY16"/>
                    </a:cxn>
                    <a:cxn ang="0">
                      <a:pos x="csX17" y="csY17"/>
                    </a:cxn>
                    <a:cxn ang="0">
                      <a:pos x="csX18" y="csY18"/>
                    </a:cxn>
                    <a:cxn ang="0">
                      <a:pos x="csX19" y="csY19"/>
                    </a:cxn>
                    <a:cxn ang="0">
                      <a:pos x="csX20" y="csY20"/>
                    </a:cxn>
                    <a:cxn ang="0">
                      <a:pos x="csX21" y="csY21"/>
                    </a:cxn>
                    <a:cxn ang="0">
                      <a:pos x="csX22" y="csY22"/>
                    </a:cxn>
                    <a:cxn ang="0">
                      <a:pos x="csX23" y="csY23"/>
                    </a:cxn>
                    <a:cxn ang="0">
                      <a:pos x="csX24" y="csY24"/>
                    </a:cxn>
                    <a:cxn ang="0">
                      <a:pos x="csX25" y="csY25"/>
                    </a:cxn>
                    <a:cxn ang="0">
                      <a:pos x="csX26" y="csY26"/>
                    </a:cxn>
                    <a:cxn ang="0">
                      <a:pos x="csX27" y="csY27"/>
                    </a:cxn>
                    <a:cxn ang="0">
                      <a:pos x="csX28" y="csY28"/>
                    </a:cxn>
                    <a:cxn ang="0">
                      <a:pos x="csX29" y="csY29"/>
                    </a:cxn>
                  </a:cxnLst>
                  <a:rect l="l" t="t" r="r" b="b"/>
                  <a:pathLst>
                    <a:path w="150094" h="213091">
                      <a:moveTo>
                        <a:pt x="77711" y="21090"/>
                      </a:moveTo>
                      <a:cubicBezTo>
                        <a:pt x="60926" y="21151"/>
                        <a:pt x="45767" y="31523"/>
                        <a:pt x="40305" y="46697"/>
                      </a:cubicBezTo>
                      <a:cubicBezTo>
                        <a:pt x="36392" y="57575"/>
                        <a:pt x="38418" y="62639"/>
                        <a:pt x="48437" y="67871"/>
                      </a:cubicBezTo>
                      <a:cubicBezTo>
                        <a:pt x="54098" y="70832"/>
                        <a:pt x="59775" y="73808"/>
                        <a:pt x="65161" y="77230"/>
                      </a:cubicBezTo>
                      <a:cubicBezTo>
                        <a:pt x="90170" y="93095"/>
                        <a:pt x="97749" y="113056"/>
                        <a:pt x="89847" y="141640"/>
                      </a:cubicBezTo>
                      <a:cubicBezTo>
                        <a:pt x="84861" y="159683"/>
                        <a:pt x="76131" y="174904"/>
                        <a:pt x="59990" y="185644"/>
                      </a:cubicBezTo>
                      <a:cubicBezTo>
                        <a:pt x="52410" y="190692"/>
                        <a:pt x="46181" y="197750"/>
                        <a:pt x="39353" y="203918"/>
                      </a:cubicBezTo>
                      <a:cubicBezTo>
                        <a:pt x="32879" y="209763"/>
                        <a:pt x="25668" y="213691"/>
                        <a:pt x="16554" y="213016"/>
                      </a:cubicBezTo>
                      <a:cubicBezTo>
                        <a:pt x="9480" y="212479"/>
                        <a:pt x="4509" y="208873"/>
                        <a:pt x="1594" y="202644"/>
                      </a:cubicBezTo>
                      <a:cubicBezTo>
                        <a:pt x="-1275" y="196507"/>
                        <a:pt x="-155" y="190446"/>
                        <a:pt x="4018" y="185368"/>
                      </a:cubicBezTo>
                      <a:cubicBezTo>
                        <a:pt x="6903" y="181854"/>
                        <a:pt x="10647" y="179031"/>
                        <a:pt x="14099" y="175993"/>
                      </a:cubicBezTo>
                      <a:cubicBezTo>
                        <a:pt x="26312" y="165238"/>
                        <a:pt x="27570" y="153270"/>
                        <a:pt x="17781" y="140443"/>
                      </a:cubicBezTo>
                      <a:cubicBezTo>
                        <a:pt x="9849" y="130071"/>
                        <a:pt x="12764" y="122246"/>
                        <a:pt x="25621" y="119684"/>
                      </a:cubicBezTo>
                      <a:cubicBezTo>
                        <a:pt x="33462" y="118119"/>
                        <a:pt x="40826" y="120605"/>
                        <a:pt x="48130" y="122921"/>
                      </a:cubicBezTo>
                      <a:cubicBezTo>
                        <a:pt x="51521" y="123995"/>
                        <a:pt x="54681" y="125806"/>
                        <a:pt x="58072" y="126941"/>
                      </a:cubicBezTo>
                      <a:cubicBezTo>
                        <a:pt x="62184" y="128338"/>
                        <a:pt x="66158" y="133416"/>
                        <a:pt x="70623" y="129719"/>
                      </a:cubicBezTo>
                      <a:cubicBezTo>
                        <a:pt x="75210" y="125898"/>
                        <a:pt x="73001" y="120068"/>
                        <a:pt x="71911" y="115235"/>
                      </a:cubicBezTo>
                      <a:cubicBezTo>
                        <a:pt x="69763" y="105630"/>
                        <a:pt x="63473" y="99078"/>
                        <a:pt x="54881" y="94660"/>
                      </a:cubicBezTo>
                      <a:cubicBezTo>
                        <a:pt x="50799" y="92558"/>
                        <a:pt x="46503" y="90854"/>
                        <a:pt x="42376" y="88814"/>
                      </a:cubicBezTo>
                      <a:cubicBezTo>
                        <a:pt x="19684" y="77629"/>
                        <a:pt x="12902" y="58235"/>
                        <a:pt x="23535" y="35128"/>
                      </a:cubicBezTo>
                      <a:cubicBezTo>
                        <a:pt x="41011" y="-2784"/>
                        <a:pt x="90707" y="-11990"/>
                        <a:pt x="121807" y="17284"/>
                      </a:cubicBezTo>
                      <a:cubicBezTo>
                        <a:pt x="143778" y="37967"/>
                        <a:pt x="151343" y="64311"/>
                        <a:pt x="149931" y="93800"/>
                      </a:cubicBezTo>
                      <a:cubicBezTo>
                        <a:pt x="148243" y="129028"/>
                        <a:pt x="132440" y="157919"/>
                        <a:pt x="109548" y="183557"/>
                      </a:cubicBezTo>
                      <a:cubicBezTo>
                        <a:pt x="106004" y="187516"/>
                        <a:pt x="101723" y="190937"/>
                        <a:pt x="97366" y="194021"/>
                      </a:cubicBezTo>
                      <a:cubicBezTo>
                        <a:pt x="93975" y="196430"/>
                        <a:pt x="89817" y="199913"/>
                        <a:pt x="85705" y="195847"/>
                      </a:cubicBezTo>
                      <a:cubicBezTo>
                        <a:pt x="81608" y="191796"/>
                        <a:pt x="84861" y="187669"/>
                        <a:pt x="87347" y="184202"/>
                      </a:cubicBezTo>
                      <a:cubicBezTo>
                        <a:pt x="90768" y="179430"/>
                        <a:pt x="94635" y="174996"/>
                        <a:pt x="98332" y="170408"/>
                      </a:cubicBezTo>
                      <a:cubicBezTo>
                        <a:pt x="113798" y="151199"/>
                        <a:pt x="125858" y="130117"/>
                        <a:pt x="129586" y="105507"/>
                      </a:cubicBezTo>
                      <a:cubicBezTo>
                        <a:pt x="133176" y="81802"/>
                        <a:pt x="129924" y="59002"/>
                        <a:pt x="114780" y="39286"/>
                      </a:cubicBezTo>
                      <a:cubicBezTo>
                        <a:pt x="105513" y="27211"/>
                        <a:pt x="93085" y="21028"/>
                        <a:pt x="77711" y="21090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/>
                <p:cNvSpPr/>
                <p:nvPr/>
              </p:nvSpPr>
              <p:spPr>
                <a:xfrm>
                  <a:off x="13242599" y="6520642"/>
                  <a:ext cx="54970" cy="121431"/>
                </a:xfrm>
                <a:custGeom>
                  <a:avLst/>
                  <a:gdLst>
                    <a:gd name="csX0" fmla="*/ 0 w 63116"/>
                    <a:gd name="csY0" fmla="*/ 101655 h 139426"/>
                    <a:gd name="csX1" fmla="*/ 45860 w 63116"/>
                    <a:gd name="csY1" fmla="*/ 5408 h 139426"/>
                    <a:gd name="csX2" fmla="*/ 51537 w 63116"/>
                    <a:gd name="csY2" fmla="*/ 1527 h 139426"/>
                    <a:gd name="csX3" fmla="*/ 60559 w 63116"/>
                    <a:gd name="csY3" fmla="*/ 2156 h 139426"/>
                    <a:gd name="csX4" fmla="*/ 61526 w 63116"/>
                    <a:gd name="csY4" fmla="*/ 12712 h 139426"/>
                    <a:gd name="csX5" fmla="*/ 53164 w 63116"/>
                    <a:gd name="csY5" fmla="*/ 21626 h 139426"/>
                    <a:gd name="csX6" fmla="*/ 18765 w 63116"/>
                    <a:gd name="csY6" fmla="*/ 116017 h 139426"/>
                    <a:gd name="csX7" fmla="*/ 21327 w 63116"/>
                    <a:gd name="csY7" fmla="*/ 128736 h 139426"/>
                    <a:gd name="csX8" fmla="*/ 16264 w 63116"/>
                    <a:gd name="csY8" fmla="*/ 138832 h 139426"/>
                    <a:gd name="csX9" fmla="*/ 6505 w 63116"/>
                    <a:gd name="csY9" fmla="*/ 134812 h 139426"/>
                    <a:gd name="csX10" fmla="*/ 2961 w 63116"/>
                    <a:gd name="csY10" fmla="*/ 126450 h 139426"/>
                    <a:gd name="csX11" fmla="*/ 0 w 63116"/>
                    <a:gd name="csY11" fmla="*/ 101655 h 13942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  <a:cxn ang="0">
                      <a:pos x="csX11" y="csY11"/>
                    </a:cxn>
                  </a:cxnLst>
                  <a:rect l="l" t="t" r="r" b="b"/>
                  <a:pathLst>
                    <a:path w="63116" h="139426">
                      <a:moveTo>
                        <a:pt x="0" y="101655"/>
                      </a:moveTo>
                      <a:cubicBezTo>
                        <a:pt x="2900" y="62868"/>
                        <a:pt x="16540" y="30372"/>
                        <a:pt x="45860" y="5408"/>
                      </a:cubicBezTo>
                      <a:cubicBezTo>
                        <a:pt x="47594" y="3936"/>
                        <a:pt x="49558" y="2677"/>
                        <a:pt x="51537" y="1527"/>
                      </a:cubicBezTo>
                      <a:cubicBezTo>
                        <a:pt x="54637" y="-284"/>
                        <a:pt x="57920" y="-944"/>
                        <a:pt x="60559" y="2156"/>
                      </a:cubicBezTo>
                      <a:cubicBezTo>
                        <a:pt x="63275" y="5332"/>
                        <a:pt x="64180" y="9183"/>
                        <a:pt x="61526" y="12712"/>
                      </a:cubicBezTo>
                      <a:cubicBezTo>
                        <a:pt x="59101" y="15949"/>
                        <a:pt x="56033" y="18726"/>
                        <a:pt x="53164" y="21626"/>
                      </a:cubicBezTo>
                      <a:cubicBezTo>
                        <a:pt x="27234" y="47832"/>
                        <a:pt x="15389" y="79178"/>
                        <a:pt x="18765" y="116017"/>
                      </a:cubicBezTo>
                      <a:cubicBezTo>
                        <a:pt x="19163" y="120297"/>
                        <a:pt x="20621" y="124471"/>
                        <a:pt x="21327" y="128736"/>
                      </a:cubicBezTo>
                      <a:cubicBezTo>
                        <a:pt x="22063" y="133216"/>
                        <a:pt x="20606" y="136975"/>
                        <a:pt x="16264" y="138832"/>
                      </a:cubicBezTo>
                      <a:cubicBezTo>
                        <a:pt x="11891" y="140688"/>
                        <a:pt x="9006" y="137881"/>
                        <a:pt x="6505" y="134812"/>
                      </a:cubicBezTo>
                      <a:cubicBezTo>
                        <a:pt x="4526" y="132388"/>
                        <a:pt x="3360" y="129519"/>
                        <a:pt x="2961" y="126450"/>
                      </a:cubicBezTo>
                      <a:cubicBezTo>
                        <a:pt x="1887" y="117843"/>
                        <a:pt x="905" y="109235"/>
                        <a:pt x="0" y="101655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/>
                <p:cNvSpPr/>
                <p:nvPr/>
              </p:nvSpPr>
              <p:spPr>
                <a:xfrm>
                  <a:off x="13568772" y="6493280"/>
                  <a:ext cx="63061" cy="111494"/>
                </a:xfrm>
                <a:custGeom>
                  <a:avLst/>
                  <a:gdLst>
                    <a:gd name="csX0" fmla="*/ 72406 w 72406"/>
                    <a:gd name="csY0" fmla="*/ 109981 h 128016"/>
                    <a:gd name="csX1" fmla="*/ 71930 w 72406"/>
                    <a:gd name="csY1" fmla="*/ 118850 h 128016"/>
                    <a:gd name="csX2" fmla="*/ 63384 w 72406"/>
                    <a:gd name="csY2" fmla="*/ 128009 h 128016"/>
                    <a:gd name="csX3" fmla="*/ 54976 w 72406"/>
                    <a:gd name="csY3" fmla="*/ 118006 h 128016"/>
                    <a:gd name="csX4" fmla="*/ 53749 w 72406"/>
                    <a:gd name="csY4" fmla="*/ 98167 h 128016"/>
                    <a:gd name="csX5" fmla="*/ 13274 w 72406"/>
                    <a:gd name="csY5" fmla="*/ 23876 h 128016"/>
                    <a:gd name="csX6" fmla="*/ 3685 w 72406"/>
                    <a:gd name="csY6" fmla="*/ 15069 h 128016"/>
                    <a:gd name="csX7" fmla="*/ 2135 w 72406"/>
                    <a:gd name="csY7" fmla="*/ 2979 h 128016"/>
                    <a:gd name="csX8" fmla="*/ 13796 w 72406"/>
                    <a:gd name="csY8" fmla="*/ 1981 h 128016"/>
                    <a:gd name="csX9" fmla="*/ 28341 w 72406"/>
                    <a:gd name="csY9" fmla="*/ 13136 h 128016"/>
                    <a:gd name="csX10" fmla="*/ 72406 w 72406"/>
                    <a:gd name="csY10" fmla="*/ 109981 h 128016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72406" h="128016">
                      <a:moveTo>
                        <a:pt x="72406" y="109981"/>
                      </a:moveTo>
                      <a:cubicBezTo>
                        <a:pt x="72237" y="113756"/>
                        <a:pt x="72421" y="116364"/>
                        <a:pt x="71930" y="118850"/>
                      </a:cubicBezTo>
                      <a:cubicBezTo>
                        <a:pt x="70995" y="123575"/>
                        <a:pt x="69031" y="128224"/>
                        <a:pt x="63384" y="128009"/>
                      </a:cubicBezTo>
                      <a:cubicBezTo>
                        <a:pt x="57585" y="127779"/>
                        <a:pt x="55176" y="123498"/>
                        <a:pt x="54976" y="118006"/>
                      </a:cubicBezTo>
                      <a:cubicBezTo>
                        <a:pt x="54731" y="111377"/>
                        <a:pt x="54716" y="104780"/>
                        <a:pt x="53749" y="98167"/>
                      </a:cubicBezTo>
                      <a:cubicBezTo>
                        <a:pt x="49361" y="68402"/>
                        <a:pt x="35813" y="43714"/>
                        <a:pt x="13274" y="23876"/>
                      </a:cubicBezTo>
                      <a:cubicBezTo>
                        <a:pt x="10021" y="21007"/>
                        <a:pt x="6937" y="17938"/>
                        <a:pt x="3685" y="15069"/>
                      </a:cubicBezTo>
                      <a:cubicBezTo>
                        <a:pt x="-427" y="11448"/>
                        <a:pt x="-1317" y="7382"/>
                        <a:pt x="2135" y="2979"/>
                      </a:cubicBezTo>
                      <a:cubicBezTo>
                        <a:pt x="5541" y="-1379"/>
                        <a:pt x="9653" y="-274"/>
                        <a:pt x="13796" y="1981"/>
                      </a:cubicBezTo>
                      <a:cubicBezTo>
                        <a:pt x="19227" y="4943"/>
                        <a:pt x="23891" y="8978"/>
                        <a:pt x="28341" y="13136"/>
                      </a:cubicBezTo>
                      <a:cubicBezTo>
                        <a:pt x="56664" y="39664"/>
                        <a:pt x="69690" y="73112"/>
                        <a:pt x="72406" y="109981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60" name="任意多边形: 形状 159"/>
                <p:cNvSpPr/>
                <p:nvPr/>
              </p:nvSpPr>
              <p:spPr>
                <a:xfrm>
                  <a:off x="13535325" y="6515105"/>
                  <a:ext cx="59078" cy="104195"/>
                </a:xfrm>
                <a:custGeom>
                  <a:avLst/>
                  <a:gdLst>
                    <a:gd name="csX0" fmla="*/ 67696 w 67832"/>
                    <a:gd name="csY0" fmla="*/ 98930 h 119635"/>
                    <a:gd name="csX1" fmla="*/ 67619 w 67832"/>
                    <a:gd name="csY1" fmla="*/ 109639 h 119635"/>
                    <a:gd name="csX2" fmla="*/ 59119 w 67832"/>
                    <a:gd name="csY2" fmla="*/ 119628 h 119635"/>
                    <a:gd name="csX3" fmla="*/ 50634 w 67832"/>
                    <a:gd name="csY3" fmla="*/ 109379 h 119635"/>
                    <a:gd name="csX4" fmla="*/ 49238 w 67832"/>
                    <a:gd name="csY4" fmla="*/ 91074 h 119635"/>
                    <a:gd name="csX5" fmla="*/ 7873 w 67832"/>
                    <a:gd name="csY5" fmla="*/ 17504 h 119635"/>
                    <a:gd name="csX6" fmla="*/ 1859 w 67832"/>
                    <a:gd name="csY6" fmla="*/ 3496 h 119635"/>
                    <a:gd name="csX7" fmla="*/ 17401 w 67832"/>
                    <a:gd name="csY7" fmla="*/ 4355 h 119635"/>
                    <a:gd name="csX8" fmla="*/ 56940 w 67832"/>
                    <a:gd name="csY8" fmla="*/ 53192 h 119635"/>
                    <a:gd name="csX9" fmla="*/ 67696 w 67832"/>
                    <a:gd name="csY9" fmla="*/ 98930 h 11963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67832" h="119635">
                      <a:moveTo>
                        <a:pt x="67696" y="98930"/>
                      </a:moveTo>
                      <a:cubicBezTo>
                        <a:pt x="67696" y="102505"/>
                        <a:pt x="68049" y="106126"/>
                        <a:pt x="67619" y="109639"/>
                      </a:cubicBezTo>
                      <a:cubicBezTo>
                        <a:pt x="66990" y="114687"/>
                        <a:pt x="65134" y="119858"/>
                        <a:pt x="59119" y="119628"/>
                      </a:cubicBezTo>
                      <a:cubicBezTo>
                        <a:pt x="53442" y="119413"/>
                        <a:pt x="51187" y="114564"/>
                        <a:pt x="50634" y="109379"/>
                      </a:cubicBezTo>
                      <a:cubicBezTo>
                        <a:pt x="49990" y="103287"/>
                        <a:pt x="49821" y="97165"/>
                        <a:pt x="49238" y="91074"/>
                      </a:cubicBezTo>
                      <a:cubicBezTo>
                        <a:pt x="46369" y="60434"/>
                        <a:pt x="30243" y="37220"/>
                        <a:pt x="7873" y="17504"/>
                      </a:cubicBezTo>
                      <a:cubicBezTo>
                        <a:pt x="3669" y="13791"/>
                        <a:pt x="-3373" y="10600"/>
                        <a:pt x="1859" y="3496"/>
                      </a:cubicBezTo>
                      <a:cubicBezTo>
                        <a:pt x="6769" y="-3178"/>
                        <a:pt x="12676" y="1195"/>
                        <a:pt x="17401" y="4355"/>
                      </a:cubicBezTo>
                      <a:cubicBezTo>
                        <a:pt x="35568" y="16522"/>
                        <a:pt x="47366" y="33937"/>
                        <a:pt x="56940" y="53192"/>
                      </a:cubicBezTo>
                      <a:cubicBezTo>
                        <a:pt x="64106" y="67630"/>
                        <a:pt x="68218" y="82728"/>
                        <a:pt x="67696" y="98930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/>
                <p:cNvSpPr/>
                <p:nvPr/>
              </p:nvSpPr>
              <p:spPr>
                <a:xfrm>
                  <a:off x="13514657" y="6766456"/>
                  <a:ext cx="81085" cy="89186"/>
                </a:xfrm>
                <a:custGeom>
                  <a:avLst/>
                  <a:gdLst>
                    <a:gd name="csX0" fmla="*/ 9156 w 93101"/>
                    <a:gd name="csY0" fmla="*/ 102403 h 102402"/>
                    <a:gd name="csX1" fmla="*/ 856 w 93101"/>
                    <a:gd name="csY1" fmla="*/ 97877 h 102402"/>
                    <a:gd name="csX2" fmla="*/ 2022 w 93101"/>
                    <a:gd name="csY2" fmla="*/ 89346 h 102402"/>
                    <a:gd name="csX3" fmla="*/ 8988 w 93101"/>
                    <a:gd name="csY3" fmla="*/ 84758 h 102402"/>
                    <a:gd name="csX4" fmla="*/ 75162 w 93101"/>
                    <a:gd name="csY4" fmla="*/ 10774 h 102402"/>
                    <a:gd name="csX5" fmla="*/ 77985 w 93101"/>
                    <a:gd name="csY5" fmla="*/ 4530 h 102402"/>
                    <a:gd name="csX6" fmla="*/ 88495 w 93101"/>
                    <a:gd name="csY6" fmla="*/ 648 h 102402"/>
                    <a:gd name="csX7" fmla="*/ 92853 w 93101"/>
                    <a:gd name="csY7" fmla="*/ 10176 h 102402"/>
                    <a:gd name="csX8" fmla="*/ 90137 w 93101"/>
                    <a:gd name="csY8" fmla="*/ 19719 h 102402"/>
                    <a:gd name="csX9" fmla="*/ 16214 w 93101"/>
                    <a:gd name="csY9" fmla="*/ 99856 h 102402"/>
                    <a:gd name="csX10" fmla="*/ 9156 w 93101"/>
                    <a:gd name="csY10" fmla="*/ 102403 h 10240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  <a:cxn ang="0">
                      <a:pos x="csX10" y="csY10"/>
                    </a:cxn>
                  </a:cxnLst>
                  <a:rect l="l" t="t" r="r" b="b"/>
                  <a:pathLst>
                    <a:path w="93101" h="102402">
                      <a:moveTo>
                        <a:pt x="9156" y="102403"/>
                      </a:moveTo>
                      <a:cubicBezTo>
                        <a:pt x="4891" y="102326"/>
                        <a:pt x="2313" y="100961"/>
                        <a:pt x="856" y="97877"/>
                      </a:cubicBezTo>
                      <a:cubicBezTo>
                        <a:pt x="-602" y="94808"/>
                        <a:pt x="-187" y="91954"/>
                        <a:pt x="2022" y="89346"/>
                      </a:cubicBezTo>
                      <a:cubicBezTo>
                        <a:pt x="3909" y="87121"/>
                        <a:pt x="6471" y="85986"/>
                        <a:pt x="8988" y="84758"/>
                      </a:cubicBezTo>
                      <a:cubicBezTo>
                        <a:pt x="41009" y="69016"/>
                        <a:pt x="62627" y="43977"/>
                        <a:pt x="75162" y="10774"/>
                      </a:cubicBezTo>
                      <a:cubicBezTo>
                        <a:pt x="75976" y="8641"/>
                        <a:pt x="76758" y="6432"/>
                        <a:pt x="77985" y="4530"/>
                      </a:cubicBezTo>
                      <a:cubicBezTo>
                        <a:pt x="80456" y="724"/>
                        <a:pt x="84015" y="-1055"/>
                        <a:pt x="88495" y="648"/>
                      </a:cubicBezTo>
                      <a:cubicBezTo>
                        <a:pt x="92899" y="2320"/>
                        <a:pt x="93574" y="6156"/>
                        <a:pt x="92853" y="10176"/>
                      </a:cubicBezTo>
                      <a:cubicBezTo>
                        <a:pt x="92270" y="13413"/>
                        <a:pt x="91411" y="16681"/>
                        <a:pt x="90137" y="19719"/>
                      </a:cubicBezTo>
                      <a:cubicBezTo>
                        <a:pt x="75162" y="55315"/>
                        <a:pt x="52010" y="83439"/>
                        <a:pt x="16214" y="99856"/>
                      </a:cubicBezTo>
                      <a:cubicBezTo>
                        <a:pt x="13698" y="100991"/>
                        <a:pt x="10982" y="101743"/>
                        <a:pt x="9156" y="102403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62" name="任意多边形: 形状 161"/>
                <p:cNvSpPr/>
                <p:nvPr/>
              </p:nvSpPr>
              <p:spPr>
                <a:xfrm>
                  <a:off x="13493184" y="6738984"/>
                  <a:ext cx="72983" cy="85302"/>
                </a:xfrm>
                <a:custGeom>
                  <a:avLst/>
                  <a:gdLst>
                    <a:gd name="csX0" fmla="*/ 83799 w 83798"/>
                    <a:gd name="csY0" fmla="*/ 10511 h 97943"/>
                    <a:gd name="csX1" fmla="*/ 72092 w 83798"/>
                    <a:gd name="csY1" fmla="*/ 42409 h 97943"/>
                    <a:gd name="csX2" fmla="*/ 18253 w 83798"/>
                    <a:gd name="csY2" fmla="*/ 94974 h 97943"/>
                    <a:gd name="csX3" fmla="*/ 14003 w 83798"/>
                    <a:gd name="csY3" fmla="*/ 96723 h 97943"/>
                    <a:gd name="csX4" fmla="*/ 839 w 83798"/>
                    <a:gd name="csY4" fmla="*/ 93133 h 97943"/>
                    <a:gd name="csX5" fmla="*/ 7804 w 83798"/>
                    <a:gd name="csY5" fmla="*/ 81779 h 97943"/>
                    <a:gd name="csX6" fmla="*/ 64865 w 83798"/>
                    <a:gd name="csY6" fmla="*/ 13948 h 97943"/>
                    <a:gd name="csX7" fmla="*/ 67136 w 83798"/>
                    <a:gd name="csY7" fmla="*/ 6644 h 97943"/>
                    <a:gd name="csX8" fmla="*/ 77017 w 83798"/>
                    <a:gd name="csY8" fmla="*/ 246 h 97943"/>
                    <a:gd name="csX9" fmla="*/ 83799 w 83798"/>
                    <a:gd name="csY9" fmla="*/ 10511 h 97943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  <a:cxn ang="0">
                      <a:pos x="csX9" y="csY9"/>
                    </a:cxn>
                  </a:cxnLst>
                  <a:rect l="l" t="t" r="r" b="b"/>
                  <a:pathLst>
                    <a:path w="83798" h="97943">
                      <a:moveTo>
                        <a:pt x="83799" y="10511"/>
                      </a:moveTo>
                      <a:cubicBezTo>
                        <a:pt x="81819" y="21588"/>
                        <a:pt x="77216" y="32129"/>
                        <a:pt x="72092" y="42409"/>
                      </a:cubicBezTo>
                      <a:cubicBezTo>
                        <a:pt x="60278" y="66129"/>
                        <a:pt x="41820" y="83206"/>
                        <a:pt x="18253" y="94974"/>
                      </a:cubicBezTo>
                      <a:cubicBezTo>
                        <a:pt x="16887" y="95649"/>
                        <a:pt x="15461" y="96248"/>
                        <a:pt x="14003" y="96723"/>
                      </a:cubicBezTo>
                      <a:cubicBezTo>
                        <a:pt x="8832" y="98411"/>
                        <a:pt x="3493" y="99224"/>
                        <a:pt x="839" y="93133"/>
                      </a:cubicBezTo>
                      <a:cubicBezTo>
                        <a:pt x="-2015" y="86597"/>
                        <a:pt x="2941" y="84096"/>
                        <a:pt x="7804" y="81779"/>
                      </a:cubicBezTo>
                      <a:cubicBezTo>
                        <a:pt x="37094" y="67817"/>
                        <a:pt x="54355" y="43698"/>
                        <a:pt x="64865" y="13948"/>
                      </a:cubicBezTo>
                      <a:cubicBezTo>
                        <a:pt x="65709" y="11539"/>
                        <a:pt x="66215" y="9007"/>
                        <a:pt x="67136" y="6644"/>
                      </a:cubicBezTo>
                      <a:cubicBezTo>
                        <a:pt x="68870" y="2195"/>
                        <a:pt x="71816" y="-920"/>
                        <a:pt x="77017" y="246"/>
                      </a:cubicBezTo>
                      <a:cubicBezTo>
                        <a:pt x="82080" y="1366"/>
                        <a:pt x="83538" y="5417"/>
                        <a:pt x="83799" y="10511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/>
                <p:cNvSpPr/>
                <p:nvPr/>
              </p:nvSpPr>
              <p:spPr>
                <a:xfrm>
                  <a:off x="13281013" y="6549046"/>
                  <a:ext cx="40614" cy="89357"/>
                </a:xfrm>
                <a:custGeom>
                  <a:avLst/>
                  <a:gdLst>
                    <a:gd name="csX0" fmla="*/ 20 w 46632"/>
                    <a:gd name="csY0" fmla="*/ 77129 h 102598"/>
                    <a:gd name="csX1" fmla="*/ 24001 w 46632"/>
                    <a:gd name="csY1" fmla="*/ 11000 h 102598"/>
                    <a:gd name="csX2" fmla="*/ 33422 w 46632"/>
                    <a:gd name="csY2" fmla="*/ 2101 h 102598"/>
                    <a:gd name="csX3" fmla="*/ 44208 w 46632"/>
                    <a:gd name="csY3" fmla="*/ 2930 h 102598"/>
                    <a:gd name="csX4" fmla="*/ 44147 w 46632"/>
                    <a:gd name="csY4" fmla="*/ 13915 h 102598"/>
                    <a:gd name="csX5" fmla="*/ 18447 w 46632"/>
                    <a:gd name="csY5" fmla="*/ 92809 h 102598"/>
                    <a:gd name="csX6" fmla="*/ 12479 w 46632"/>
                    <a:gd name="csY6" fmla="*/ 102215 h 102598"/>
                    <a:gd name="csX7" fmla="*/ 3242 w 46632"/>
                    <a:gd name="csY7" fmla="*/ 97274 h 102598"/>
                    <a:gd name="csX8" fmla="*/ 20 w 46632"/>
                    <a:gd name="csY8" fmla="*/ 77129 h 102598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  <a:cxn ang="0">
                      <a:pos x="csX7" y="csY7"/>
                    </a:cxn>
                    <a:cxn ang="0">
                      <a:pos x="csX8" y="csY8"/>
                    </a:cxn>
                  </a:cxnLst>
                  <a:rect l="l" t="t" r="r" b="b"/>
                  <a:pathLst>
                    <a:path w="46632" h="102598">
                      <a:moveTo>
                        <a:pt x="20" y="77129"/>
                      </a:moveTo>
                      <a:cubicBezTo>
                        <a:pt x="312" y="52304"/>
                        <a:pt x="7615" y="30025"/>
                        <a:pt x="24001" y="11000"/>
                      </a:cubicBezTo>
                      <a:cubicBezTo>
                        <a:pt x="26840" y="7701"/>
                        <a:pt x="29817" y="4587"/>
                        <a:pt x="33422" y="2101"/>
                      </a:cubicBezTo>
                      <a:cubicBezTo>
                        <a:pt x="37273" y="-553"/>
                        <a:pt x="41032" y="-1121"/>
                        <a:pt x="44208" y="2930"/>
                      </a:cubicBezTo>
                      <a:cubicBezTo>
                        <a:pt x="47001" y="6489"/>
                        <a:pt x="47875" y="10463"/>
                        <a:pt x="44147" y="13915"/>
                      </a:cubicBezTo>
                      <a:cubicBezTo>
                        <a:pt x="20856" y="35442"/>
                        <a:pt x="15164" y="62675"/>
                        <a:pt x="18447" y="92809"/>
                      </a:cubicBezTo>
                      <a:cubicBezTo>
                        <a:pt x="18969" y="97658"/>
                        <a:pt x="16806" y="100818"/>
                        <a:pt x="12479" y="102215"/>
                      </a:cubicBezTo>
                      <a:cubicBezTo>
                        <a:pt x="8014" y="103657"/>
                        <a:pt x="5237" y="100818"/>
                        <a:pt x="3242" y="97274"/>
                      </a:cubicBezTo>
                      <a:cubicBezTo>
                        <a:pt x="-256" y="90999"/>
                        <a:pt x="-26" y="84048"/>
                        <a:pt x="20" y="77129"/>
                      </a:cubicBezTo>
                      <a:close/>
                    </a:path>
                  </a:pathLst>
                </a:custGeom>
                <a:solidFill>
                  <a:srgbClr val="0971CA"/>
                </a:solidFill>
                <a:ln w="1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sp>
        <p:nvSpPr>
          <p:cNvPr id="169" name="箭头: 下 168"/>
          <p:cNvSpPr/>
          <p:nvPr/>
        </p:nvSpPr>
        <p:spPr>
          <a:xfrm>
            <a:off x="5881154" y="1819269"/>
            <a:ext cx="402529" cy="3998992"/>
          </a:xfrm>
          <a:prstGeom prst="downArrow">
            <a:avLst>
              <a:gd name="adj1" fmla="val 50000"/>
              <a:gd name="adj2" fmla="val 62620"/>
            </a:avLst>
          </a:prstGeom>
          <a:gradFill>
            <a:gsLst>
              <a:gs pos="35000">
                <a:schemeClr val="bg1"/>
              </a:gs>
              <a:gs pos="100000">
                <a:srgbClr val="0971CA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73" name="组合 172"/>
          <p:cNvGrpSpPr/>
          <p:nvPr/>
        </p:nvGrpSpPr>
        <p:grpSpPr>
          <a:xfrm>
            <a:off x="5770526" y="2060081"/>
            <a:ext cx="984241" cy="1290553"/>
            <a:chOff x="5797831" y="1966925"/>
            <a:chExt cx="984241" cy="1290553"/>
          </a:xfrm>
        </p:grpSpPr>
        <p:sp>
          <p:nvSpPr>
            <p:cNvPr id="172" name="矩形 171"/>
            <p:cNvSpPr/>
            <p:nvPr/>
          </p:nvSpPr>
          <p:spPr>
            <a:xfrm>
              <a:off x="5957888" y="1966925"/>
              <a:ext cx="824184" cy="32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0" name="图片 16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97831" y="2049293"/>
              <a:ext cx="931581" cy="1208185"/>
            </a:xfrm>
            <a:prstGeom prst="rect">
              <a:avLst/>
            </a:prstGeom>
          </p:spPr>
        </p:pic>
      </p:grpSp>
      <p:sp>
        <p:nvSpPr>
          <p:cNvPr id="180" name="任意多边形: 形状 179"/>
          <p:cNvSpPr/>
          <p:nvPr/>
        </p:nvSpPr>
        <p:spPr>
          <a:xfrm flipH="1">
            <a:off x="374649" y="5944450"/>
            <a:ext cx="11414337" cy="655994"/>
          </a:xfrm>
          <a:custGeom>
            <a:avLst/>
            <a:gdLst>
              <a:gd name="csX0" fmla="*/ 11160462 w 11414337"/>
              <a:gd name="csY0" fmla="*/ 0 h 563012"/>
              <a:gd name="csX1" fmla="*/ 11041415 w 11414337"/>
              <a:gd name="csY1" fmla="*/ 0 h 563012"/>
              <a:gd name="csX2" fmla="*/ 10882620 w 11414337"/>
              <a:gd name="csY2" fmla="*/ 0 h 563012"/>
              <a:gd name="csX3" fmla="*/ 10763573 w 11414337"/>
              <a:gd name="csY3" fmla="*/ 0 h 563012"/>
              <a:gd name="csX4" fmla="*/ 10740493 w 11414337"/>
              <a:gd name="csY4" fmla="*/ 0 h 563012"/>
              <a:gd name="csX5" fmla="*/ 10671378 w 11414337"/>
              <a:gd name="csY5" fmla="*/ 0 h 563012"/>
              <a:gd name="csX6" fmla="*/ 10621446 w 11414337"/>
              <a:gd name="csY6" fmla="*/ 0 h 563012"/>
              <a:gd name="csX7" fmla="*/ 10552332 w 11414337"/>
              <a:gd name="csY7" fmla="*/ 0 h 563012"/>
              <a:gd name="csX8" fmla="*/ 10462651 w 11414337"/>
              <a:gd name="csY8" fmla="*/ 0 h 563012"/>
              <a:gd name="csX9" fmla="*/ 10393536 w 11414337"/>
              <a:gd name="csY9" fmla="*/ 0 h 563012"/>
              <a:gd name="csX10" fmla="*/ 10357884 w 11414337"/>
              <a:gd name="csY10" fmla="*/ 0 h 563012"/>
              <a:gd name="csX11" fmla="*/ 10343604 w 11414337"/>
              <a:gd name="csY11" fmla="*/ 0 h 563012"/>
              <a:gd name="csX12" fmla="*/ 10288768 w 11414337"/>
              <a:gd name="csY12" fmla="*/ 0 h 563012"/>
              <a:gd name="csX13" fmla="*/ 10274490 w 11414337"/>
              <a:gd name="csY13" fmla="*/ 0 h 563012"/>
              <a:gd name="csX14" fmla="*/ 10258516 w 11414337"/>
              <a:gd name="csY14" fmla="*/ 0 h 563012"/>
              <a:gd name="csX15" fmla="*/ 10238837 w 11414337"/>
              <a:gd name="csY15" fmla="*/ 0 h 563012"/>
              <a:gd name="csX16" fmla="*/ 10189401 w 11414337"/>
              <a:gd name="csY16" fmla="*/ 0 h 563012"/>
              <a:gd name="csX17" fmla="*/ 10169721 w 11414337"/>
              <a:gd name="csY17" fmla="*/ 0 h 563012"/>
              <a:gd name="csX18" fmla="*/ 10139469 w 11414337"/>
              <a:gd name="csY18" fmla="*/ 0 h 563012"/>
              <a:gd name="csX19" fmla="*/ 10080042 w 11414337"/>
              <a:gd name="csY19" fmla="*/ 0 h 563012"/>
              <a:gd name="csX20" fmla="*/ 10070354 w 11414337"/>
              <a:gd name="csY20" fmla="*/ 0 h 563012"/>
              <a:gd name="csX21" fmla="*/ 10010926 w 11414337"/>
              <a:gd name="csY21" fmla="*/ 0 h 563012"/>
              <a:gd name="csX22" fmla="*/ 9980674 w 11414337"/>
              <a:gd name="csY22" fmla="*/ 0 h 563012"/>
              <a:gd name="csX23" fmla="*/ 9960995 w 11414337"/>
              <a:gd name="csY23" fmla="*/ 0 h 563012"/>
              <a:gd name="csX24" fmla="*/ 9911559 w 11414337"/>
              <a:gd name="csY24" fmla="*/ 0 h 563012"/>
              <a:gd name="csX25" fmla="*/ 9891879 w 11414337"/>
              <a:gd name="csY25" fmla="*/ 0 h 563012"/>
              <a:gd name="csX26" fmla="*/ 9875907 w 11414337"/>
              <a:gd name="csY26" fmla="*/ 0 h 563012"/>
              <a:gd name="csX27" fmla="*/ 9861627 w 11414337"/>
              <a:gd name="csY27" fmla="*/ 0 h 563012"/>
              <a:gd name="csX28" fmla="*/ 9806791 w 11414337"/>
              <a:gd name="csY28" fmla="*/ 0 h 563012"/>
              <a:gd name="csX29" fmla="*/ 9792512 w 11414337"/>
              <a:gd name="csY29" fmla="*/ 0 h 563012"/>
              <a:gd name="csX30" fmla="*/ 9756860 w 11414337"/>
              <a:gd name="csY30" fmla="*/ 0 h 563012"/>
              <a:gd name="csX31" fmla="*/ 9687744 w 11414337"/>
              <a:gd name="csY31" fmla="*/ 0 h 563012"/>
              <a:gd name="csX32" fmla="*/ 9620588 w 11414337"/>
              <a:gd name="csY32" fmla="*/ 0 h 563012"/>
              <a:gd name="csX33" fmla="*/ 9598065 w 11414337"/>
              <a:gd name="csY33" fmla="*/ 0 h 563012"/>
              <a:gd name="csX34" fmla="*/ 9528949 w 11414337"/>
              <a:gd name="csY34" fmla="*/ 0 h 563012"/>
              <a:gd name="csX35" fmla="*/ 9501541 w 11414337"/>
              <a:gd name="csY35" fmla="*/ 0 h 563012"/>
              <a:gd name="csX36" fmla="*/ 9479018 w 11414337"/>
              <a:gd name="csY36" fmla="*/ 0 h 563012"/>
              <a:gd name="csX37" fmla="*/ 9409902 w 11414337"/>
              <a:gd name="csY37" fmla="*/ 0 h 563012"/>
              <a:gd name="csX38" fmla="*/ 9386822 w 11414337"/>
              <a:gd name="csY38" fmla="*/ 0 h 563012"/>
              <a:gd name="csX39" fmla="*/ 9342746 w 11414337"/>
              <a:gd name="csY39" fmla="*/ 0 h 563012"/>
              <a:gd name="csX40" fmla="*/ 9267775 w 11414337"/>
              <a:gd name="csY40" fmla="*/ 0 h 563012"/>
              <a:gd name="csX41" fmla="*/ 9223699 w 11414337"/>
              <a:gd name="csY41" fmla="*/ 0 h 563012"/>
              <a:gd name="csX42" fmla="*/ 9200619 w 11414337"/>
              <a:gd name="csY42" fmla="*/ 0 h 563012"/>
              <a:gd name="csX43" fmla="*/ 9131505 w 11414337"/>
              <a:gd name="csY43" fmla="*/ 0 h 563012"/>
              <a:gd name="csX44" fmla="*/ 9108980 w 11414337"/>
              <a:gd name="csY44" fmla="*/ 0 h 563012"/>
              <a:gd name="csX45" fmla="*/ 9081572 w 11414337"/>
              <a:gd name="csY45" fmla="*/ 0 h 563012"/>
              <a:gd name="csX46" fmla="*/ 9012458 w 11414337"/>
              <a:gd name="csY46" fmla="*/ 0 h 563012"/>
              <a:gd name="csX47" fmla="*/ 8989933 w 11414337"/>
              <a:gd name="csY47" fmla="*/ 0 h 563012"/>
              <a:gd name="csX48" fmla="*/ 8922777 w 11414337"/>
              <a:gd name="csY48" fmla="*/ 0 h 563012"/>
              <a:gd name="csX49" fmla="*/ 8853663 w 11414337"/>
              <a:gd name="csY49" fmla="*/ 0 h 563012"/>
              <a:gd name="csX50" fmla="*/ 8818010 w 11414337"/>
              <a:gd name="csY50" fmla="*/ 0 h 563012"/>
              <a:gd name="csX51" fmla="*/ 8803730 w 11414337"/>
              <a:gd name="csY51" fmla="*/ 0 h 563012"/>
              <a:gd name="csX52" fmla="*/ 8748894 w 11414337"/>
              <a:gd name="csY52" fmla="*/ 0 h 563012"/>
              <a:gd name="csX53" fmla="*/ 8734616 w 11414337"/>
              <a:gd name="csY53" fmla="*/ 0 h 563012"/>
              <a:gd name="csX54" fmla="*/ 8718642 w 11414337"/>
              <a:gd name="csY54" fmla="*/ 0 h 563012"/>
              <a:gd name="csX55" fmla="*/ 8698963 w 11414337"/>
              <a:gd name="csY55" fmla="*/ 0 h 563012"/>
              <a:gd name="csX56" fmla="*/ 8649528 w 11414337"/>
              <a:gd name="csY56" fmla="*/ 0 h 563012"/>
              <a:gd name="csX57" fmla="*/ 8629847 w 11414337"/>
              <a:gd name="csY57" fmla="*/ 0 h 563012"/>
              <a:gd name="csX58" fmla="*/ 8599595 w 11414337"/>
              <a:gd name="csY58" fmla="*/ 0 h 563012"/>
              <a:gd name="csX59" fmla="*/ 8540168 w 11414337"/>
              <a:gd name="csY59" fmla="*/ 0 h 563012"/>
              <a:gd name="csX60" fmla="*/ 8530481 w 11414337"/>
              <a:gd name="csY60" fmla="*/ 0 h 563012"/>
              <a:gd name="csX61" fmla="*/ 8471052 w 11414337"/>
              <a:gd name="csY61" fmla="*/ 0 h 563012"/>
              <a:gd name="csX62" fmla="*/ 8440800 w 11414337"/>
              <a:gd name="csY62" fmla="*/ 0 h 563012"/>
              <a:gd name="csX63" fmla="*/ 8421121 w 11414337"/>
              <a:gd name="csY63" fmla="*/ 0 h 563012"/>
              <a:gd name="csX64" fmla="*/ 8371686 w 11414337"/>
              <a:gd name="csY64" fmla="*/ 0 h 563012"/>
              <a:gd name="csX65" fmla="*/ 8352005 w 11414337"/>
              <a:gd name="csY65" fmla="*/ 0 h 563012"/>
              <a:gd name="csX66" fmla="*/ 8336033 w 11414337"/>
              <a:gd name="csY66" fmla="*/ 0 h 563012"/>
              <a:gd name="csX67" fmla="*/ 8321753 w 11414337"/>
              <a:gd name="csY67" fmla="*/ 0 h 563012"/>
              <a:gd name="csX68" fmla="*/ 8266917 w 11414337"/>
              <a:gd name="csY68" fmla="*/ 0 h 563012"/>
              <a:gd name="csX69" fmla="*/ 8252639 w 11414337"/>
              <a:gd name="csY69" fmla="*/ 0 h 563012"/>
              <a:gd name="csX70" fmla="*/ 8216986 w 11414337"/>
              <a:gd name="csY70" fmla="*/ 0 h 563012"/>
              <a:gd name="csX71" fmla="*/ 8147870 w 11414337"/>
              <a:gd name="csY71" fmla="*/ 0 h 563012"/>
              <a:gd name="csX72" fmla="*/ 8058191 w 11414337"/>
              <a:gd name="csY72" fmla="*/ 0 h 563012"/>
              <a:gd name="csX73" fmla="*/ 7989075 w 11414337"/>
              <a:gd name="csY73" fmla="*/ 0 h 563012"/>
              <a:gd name="csX74" fmla="*/ 7939144 w 11414337"/>
              <a:gd name="csY74" fmla="*/ 0 h 563012"/>
              <a:gd name="csX75" fmla="*/ 7870028 w 11414337"/>
              <a:gd name="csY75" fmla="*/ 0 h 563012"/>
              <a:gd name="csX76" fmla="*/ 7846948 w 11414337"/>
              <a:gd name="csY76" fmla="*/ 0 h 563012"/>
              <a:gd name="csX77" fmla="*/ 7727901 w 11414337"/>
              <a:gd name="csY77" fmla="*/ 0 h 563012"/>
              <a:gd name="csX78" fmla="*/ 7569107 w 11414337"/>
              <a:gd name="csY78" fmla="*/ 0 h 563012"/>
              <a:gd name="csX79" fmla="*/ 7458623 w 11414337"/>
              <a:gd name="csY79" fmla="*/ 0 h 563012"/>
              <a:gd name="csX80" fmla="*/ 7450060 w 11414337"/>
              <a:gd name="csY80" fmla="*/ 0 h 563012"/>
              <a:gd name="csX81" fmla="*/ 7339577 w 11414337"/>
              <a:gd name="csY81" fmla="*/ 0 h 563012"/>
              <a:gd name="csX82" fmla="*/ 7180781 w 11414337"/>
              <a:gd name="csY82" fmla="*/ 0 h 563012"/>
              <a:gd name="csX83" fmla="*/ 7061735 w 11414337"/>
              <a:gd name="csY83" fmla="*/ 0 h 563012"/>
              <a:gd name="csX84" fmla="*/ 7038655 w 11414337"/>
              <a:gd name="csY84" fmla="*/ 0 h 563012"/>
              <a:gd name="csX85" fmla="*/ 6969540 w 11414337"/>
              <a:gd name="csY85" fmla="*/ 0 h 563012"/>
              <a:gd name="csX86" fmla="*/ 6919608 w 11414337"/>
              <a:gd name="csY86" fmla="*/ 0 h 563012"/>
              <a:gd name="csX87" fmla="*/ 6850493 w 11414337"/>
              <a:gd name="csY87" fmla="*/ 0 h 563012"/>
              <a:gd name="csX88" fmla="*/ 6760813 w 11414337"/>
              <a:gd name="csY88" fmla="*/ 0 h 563012"/>
              <a:gd name="csX89" fmla="*/ 6691698 w 11414337"/>
              <a:gd name="csY89" fmla="*/ 0 h 563012"/>
              <a:gd name="csX90" fmla="*/ 6656046 w 11414337"/>
              <a:gd name="csY90" fmla="*/ 0 h 563012"/>
              <a:gd name="csX91" fmla="*/ 6641766 w 11414337"/>
              <a:gd name="csY91" fmla="*/ 0 h 563012"/>
              <a:gd name="csX92" fmla="*/ 6586930 w 11414337"/>
              <a:gd name="csY92" fmla="*/ 0 h 563012"/>
              <a:gd name="csX93" fmla="*/ 6572651 w 11414337"/>
              <a:gd name="csY93" fmla="*/ 0 h 563012"/>
              <a:gd name="csX94" fmla="*/ 6556677 w 11414337"/>
              <a:gd name="csY94" fmla="*/ 0 h 563012"/>
              <a:gd name="csX95" fmla="*/ 6536999 w 11414337"/>
              <a:gd name="csY95" fmla="*/ 0 h 563012"/>
              <a:gd name="csX96" fmla="*/ 6487563 w 11414337"/>
              <a:gd name="csY96" fmla="*/ 0 h 563012"/>
              <a:gd name="csX97" fmla="*/ 6467883 w 11414337"/>
              <a:gd name="csY97" fmla="*/ 0 h 563012"/>
              <a:gd name="csX98" fmla="*/ 6437631 w 11414337"/>
              <a:gd name="csY98" fmla="*/ 0 h 563012"/>
              <a:gd name="csX99" fmla="*/ 6378204 w 11414337"/>
              <a:gd name="csY99" fmla="*/ 0 h 563012"/>
              <a:gd name="csX100" fmla="*/ 6368516 w 11414337"/>
              <a:gd name="csY100" fmla="*/ 0 h 563012"/>
              <a:gd name="csX101" fmla="*/ 6309088 w 11414337"/>
              <a:gd name="csY101" fmla="*/ 0 h 563012"/>
              <a:gd name="csX102" fmla="*/ 6278836 w 11414337"/>
              <a:gd name="csY102" fmla="*/ 0 h 563012"/>
              <a:gd name="csX103" fmla="*/ 6259157 w 11414337"/>
              <a:gd name="csY103" fmla="*/ 0 h 563012"/>
              <a:gd name="csX104" fmla="*/ 6209721 w 11414337"/>
              <a:gd name="csY104" fmla="*/ 0 h 563012"/>
              <a:gd name="csX105" fmla="*/ 6190041 w 11414337"/>
              <a:gd name="csY105" fmla="*/ 0 h 563012"/>
              <a:gd name="csX106" fmla="*/ 6174068 w 11414337"/>
              <a:gd name="csY106" fmla="*/ 0 h 563012"/>
              <a:gd name="csX107" fmla="*/ 6159789 w 11414337"/>
              <a:gd name="csY107" fmla="*/ 0 h 563012"/>
              <a:gd name="csX108" fmla="*/ 6104953 w 11414337"/>
              <a:gd name="csY108" fmla="*/ 0 h 563012"/>
              <a:gd name="csX109" fmla="*/ 6090674 w 11414337"/>
              <a:gd name="csY109" fmla="*/ 0 h 563012"/>
              <a:gd name="csX110" fmla="*/ 6055022 w 11414337"/>
              <a:gd name="csY110" fmla="*/ 0 h 563012"/>
              <a:gd name="csX111" fmla="*/ 5997221 w 11414337"/>
              <a:gd name="csY111" fmla="*/ 0 h 563012"/>
              <a:gd name="csX112" fmla="*/ 5985906 w 11414337"/>
              <a:gd name="csY112" fmla="*/ 0 h 563012"/>
              <a:gd name="csX113" fmla="*/ 5896226 w 11414337"/>
              <a:gd name="csY113" fmla="*/ 0 h 563012"/>
              <a:gd name="csX114" fmla="*/ 5878175 w 11414337"/>
              <a:gd name="csY114" fmla="*/ 0 h 563012"/>
              <a:gd name="csX115" fmla="*/ 5827111 w 11414337"/>
              <a:gd name="csY115" fmla="*/ 0 h 563012"/>
              <a:gd name="csX116" fmla="*/ 5777180 w 11414337"/>
              <a:gd name="csY116" fmla="*/ 0 h 563012"/>
              <a:gd name="csX117" fmla="*/ 5719379 w 11414337"/>
              <a:gd name="csY117" fmla="*/ 0 h 563012"/>
              <a:gd name="csX118" fmla="*/ 5708064 w 11414337"/>
              <a:gd name="csY118" fmla="*/ 0 h 563012"/>
              <a:gd name="csX119" fmla="*/ 5684984 w 11414337"/>
              <a:gd name="csY119" fmla="*/ 0 h 563012"/>
              <a:gd name="csX120" fmla="*/ 5600333 w 11414337"/>
              <a:gd name="csY120" fmla="*/ 0 h 563012"/>
              <a:gd name="csX121" fmla="*/ 5577253 w 11414337"/>
              <a:gd name="csY121" fmla="*/ 0 h 563012"/>
              <a:gd name="csX122" fmla="*/ 5565937 w 11414337"/>
              <a:gd name="csY122" fmla="*/ 0 h 563012"/>
              <a:gd name="csX123" fmla="*/ 5508138 w 11414337"/>
              <a:gd name="csY123" fmla="*/ 0 h 563012"/>
              <a:gd name="csX124" fmla="*/ 5458206 w 11414337"/>
              <a:gd name="csY124" fmla="*/ 0 h 563012"/>
              <a:gd name="csX125" fmla="*/ 5407142 w 11414337"/>
              <a:gd name="csY125" fmla="*/ 0 h 563012"/>
              <a:gd name="csX126" fmla="*/ 5389091 w 11414337"/>
              <a:gd name="csY126" fmla="*/ 0 h 563012"/>
              <a:gd name="csX127" fmla="*/ 5299411 w 11414337"/>
              <a:gd name="csY127" fmla="*/ 0 h 563012"/>
              <a:gd name="csX128" fmla="*/ 5288095 w 11414337"/>
              <a:gd name="csY128" fmla="*/ 0 h 563012"/>
              <a:gd name="csX129" fmla="*/ 5230296 w 11414337"/>
              <a:gd name="csY129" fmla="*/ 0 h 563012"/>
              <a:gd name="csX130" fmla="*/ 5194644 w 11414337"/>
              <a:gd name="csY130" fmla="*/ 0 h 563012"/>
              <a:gd name="csX131" fmla="*/ 5180364 w 11414337"/>
              <a:gd name="csY131" fmla="*/ 0 h 563012"/>
              <a:gd name="csX132" fmla="*/ 5125528 w 11414337"/>
              <a:gd name="csY132" fmla="*/ 0 h 563012"/>
              <a:gd name="csX133" fmla="*/ 5111249 w 11414337"/>
              <a:gd name="csY133" fmla="*/ 0 h 563012"/>
              <a:gd name="csX134" fmla="*/ 5095275 w 11414337"/>
              <a:gd name="csY134" fmla="*/ 0 h 563012"/>
              <a:gd name="csX135" fmla="*/ 5075597 w 11414337"/>
              <a:gd name="csY135" fmla="*/ 0 h 563012"/>
              <a:gd name="csX136" fmla="*/ 5026161 w 11414337"/>
              <a:gd name="csY136" fmla="*/ 0 h 563012"/>
              <a:gd name="csX137" fmla="*/ 5006481 w 11414337"/>
              <a:gd name="csY137" fmla="*/ 0 h 563012"/>
              <a:gd name="csX138" fmla="*/ 4976229 w 11414337"/>
              <a:gd name="csY138" fmla="*/ 0 h 563012"/>
              <a:gd name="csX139" fmla="*/ 4916802 w 11414337"/>
              <a:gd name="csY139" fmla="*/ 0 h 563012"/>
              <a:gd name="csX140" fmla="*/ 4907114 w 11414337"/>
              <a:gd name="csY140" fmla="*/ 0 h 563012"/>
              <a:gd name="csX141" fmla="*/ 4847686 w 11414337"/>
              <a:gd name="csY141" fmla="*/ 0 h 563012"/>
              <a:gd name="csX142" fmla="*/ 4817434 w 11414337"/>
              <a:gd name="csY142" fmla="*/ 0 h 563012"/>
              <a:gd name="csX143" fmla="*/ 4797755 w 11414337"/>
              <a:gd name="csY143" fmla="*/ 0 h 563012"/>
              <a:gd name="csX144" fmla="*/ 4748319 w 11414337"/>
              <a:gd name="csY144" fmla="*/ 0 h 563012"/>
              <a:gd name="csX145" fmla="*/ 4728639 w 11414337"/>
              <a:gd name="csY145" fmla="*/ 0 h 563012"/>
              <a:gd name="csX146" fmla="*/ 4712666 w 11414337"/>
              <a:gd name="csY146" fmla="*/ 0 h 563012"/>
              <a:gd name="csX147" fmla="*/ 4698387 w 11414337"/>
              <a:gd name="csY147" fmla="*/ 0 h 563012"/>
              <a:gd name="csX148" fmla="*/ 4643551 w 11414337"/>
              <a:gd name="csY148" fmla="*/ 0 h 563012"/>
              <a:gd name="csX149" fmla="*/ 4629272 w 11414337"/>
              <a:gd name="csY149" fmla="*/ 0 h 563012"/>
              <a:gd name="csX150" fmla="*/ 4607897 w 11414337"/>
              <a:gd name="csY150" fmla="*/ 0 h 563012"/>
              <a:gd name="csX151" fmla="*/ 4593620 w 11414337"/>
              <a:gd name="csY151" fmla="*/ 0 h 563012"/>
              <a:gd name="csX152" fmla="*/ 4524504 w 11414337"/>
              <a:gd name="csY152" fmla="*/ 0 h 563012"/>
              <a:gd name="csX153" fmla="*/ 4488851 w 11414337"/>
              <a:gd name="csY153" fmla="*/ 0 h 563012"/>
              <a:gd name="csX154" fmla="*/ 4434824 w 11414337"/>
              <a:gd name="csY154" fmla="*/ 0 h 563012"/>
              <a:gd name="csX155" fmla="*/ 4365709 w 11414337"/>
              <a:gd name="csY155" fmla="*/ 0 h 563012"/>
              <a:gd name="csX156" fmla="*/ 4330055 w 11414337"/>
              <a:gd name="csY156" fmla="*/ 0 h 563012"/>
              <a:gd name="csX157" fmla="*/ 4315778 w 11414337"/>
              <a:gd name="csY157" fmla="*/ 0 h 563012"/>
              <a:gd name="csX158" fmla="*/ 4246662 w 11414337"/>
              <a:gd name="csY158" fmla="*/ 0 h 563012"/>
              <a:gd name="csX159" fmla="*/ 4223582 w 11414337"/>
              <a:gd name="csY159" fmla="*/ 0 h 563012"/>
              <a:gd name="csX160" fmla="*/ 4211009 w 11414337"/>
              <a:gd name="csY160" fmla="*/ 0 h 563012"/>
              <a:gd name="csX161" fmla="*/ 4187929 w 11414337"/>
              <a:gd name="csY161" fmla="*/ 0 h 563012"/>
              <a:gd name="csX162" fmla="*/ 4118814 w 11414337"/>
              <a:gd name="csY162" fmla="*/ 0 h 563012"/>
              <a:gd name="csX163" fmla="*/ 4104535 w 11414337"/>
              <a:gd name="csY163" fmla="*/ 0 h 563012"/>
              <a:gd name="csX164" fmla="*/ 4068882 w 11414337"/>
              <a:gd name="csY164" fmla="*/ 0 h 563012"/>
              <a:gd name="csX165" fmla="*/ 3999767 w 11414337"/>
              <a:gd name="csY165" fmla="*/ 0 h 563012"/>
              <a:gd name="csX166" fmla="*/ 3945740 w 11414337"/>
              <a:gd name="csY166" fmla="*/ 0 h 563012"/>
              <a:gd name="csX167" fmla="*/ 3910087 w 11414337"/>
              <a:gd name="csY167" fmla="*/ 0 h 563012"/>
              <a:gd name="csX168" fmla="*/ 3840972 w 11414337"/>
              <a:gd name="csY168" fmla="*/ 0 h 563012"/>
              <a:gd name="csX169" fmla="*/ 3826693 w 11414337"/>
              <a:gd name="csY169" fmla="*/ 0 h 563012"/>
              <a:gd name="csX170" fmla="*/ 3805320 w 11414337"/>
              <a:gd name="csY170" fmla="*/ 0 h 563012"/>
              <a:gd name="csX171" fmla="*/ 3791040 w 11414337"/>
              <a:gd name="csY171" fmla="*/ 0 h 563012"/>
              <a:gd name="csX172" fmla="*/ 3736204 w 11414337"/>
              <a:gd name="csY172" fmla="*/ 0 h 563012"/>
              <a:gd name="csX173" fmla="*/ 3721925 w 11414337"/>
              <a:gd name="csY173" fmla="*/ 0 h 563012"/>
              <a:gd name="csX174" fmla="*/ 3705951 w 11414337"/>
              <a:gd name="csY174" fmla="*/ 0 h 563012"/>
              <a:gd name="csX175" fmla="*/ 3686273 w 11414337"/>
              <a:gd name="csY175" fmla="*/ 0 h 563012"/>
              <a:gd name="csX176" fmla="*/ 3636837 w 11414337"/>
              <a:gd name="csY176" fmla="*/ 0 h 563012"/>
              <a:gd name="csX177" fmla="*/ 3617157 w 11414337"/>
              <a:gd name="csY177" fmla="*/ 0 h 563012"/>
              <a:gd name="csX178" fmla="*/ 3586905 w 11414337"/>
              <a:gd name="csY178" fmla="*/ 0 h 563012"/>
              <a:gd name="csX179" fmla="*/ 3527477 w 11414337"/>
              <a:gd name="csY179" fmla="*/ 0 h 563012"/>
              <a:gd name="csX180" fmla="*/ 3517790 w 11414337"/>
              <a:gd name="csY180" fmla="*/ 0 h 563012"/>
              <a:gd name="csX181" fmla="*/ 3458361 w 11414337"/>
              <a:gd name="csY181" fmla="*/ 0 h 563012"/>
              <a:gd name="csX182" fmla="*/ 3428109 w 11414337"/>
              <a:gd name="csY182" fmla="*/ 0 h 563012"/>
              <a:gd name="csX183" fmla="*/ 3408431 w 11414337"/>
              <a:gd name="csY183" fmla="*/ 0 h 563012"/>
              <a:gd name="csX184" fmla="*/ 3358995 w 11414337"/>
              <a:gd name="csY184" fmla="*/ 0 h 563012"/>
              <a:gd name="csX185" fmla="*/ 3339315 w 11414337"/>
              <a:gd name="csY185" fmla="*/ 0 h 563012"/>
              <a:gd name="csX186" fmla="*/ 3323342 w 11414337"/>
              <a:gd name="csY186" fmla="*/ 0 h 563012"/>
              <a:gd name="csX187" fmla="*/ 3309062 w 11414337"/>
              <a:gd name="csY187" fmla="*/ 0 h 563012"/>
              <a:gd name="csX188" fmla="*/ 3254226 w 11414337"/>
              <a:gd name="csY188" fmla="*/ 0 h 563012"/>
              <a:gd name="csX189" fmla="*/ 3239948 w 11414337"/>
              <a:gd name="csY189" fmla="*/ 0 h 563012"/>
              <a:gd name="csX190" fmla="*/ 3204295 w 11414337"/>
              <a:gd name="csY190" fmla="*/ 0 h 563012"/>
              <a:gd name="csX191" fmla="*/ 3135180 w 11414337"/>
              <a:gd name="csY191" fmla="*/ 0 h 563012"/>
              <a:gd name="csX192" fmla="*/ 3045500 w 11414337"/>
              <a:gd name="csY192" fmla="*/ 0 h 563012"/>
              <a:gd name="csX193" fmla="*/ 2976384 w 11414337"/>
              <a:gd name="csY193" fmla="*/ 0 h 563012"/>
              <a:gd name="csX194" fmla="*/ 2926453 w 11414337"/>
              <a:gd name="csY194" fmla="*/ 0 h 563012"/>
              <a:gd name="csX195" fmla="*/ 2857338 w 11414337"/>
              <a:gd name="csY195" fmla="*/ 0 h 563012"/>
              <a:gd name="csX196" fmla="*/ 2834258 w 11414337"/>
              <a:gd name="csY196" fmla="*/ 0 h 563012"/>
              <a:gd name="csX197" fmla="*/ 2715211 w 11414337"/>
              <a:gd name="csY197" fmla="*/ 0 h 563012"/>
              <a:gd name="csX198" fmla="*/ 2556416 w 11414337"/>
              <a:gd name="csY198" fmla="*/ 0 h 563012"/>
              <a:gd name="csX199" fmla="*/ 2437369 w 11414337"/>
              <a:gd name="csY199" fmla="*/ 0 h 563012"/>
              <a:gd name="csX200" fmla="*/ 2430886 w 11414337"/>
              <a:gd name="csY200" fmla="*/ 1416 h 563012"/>
              <a:gd name="csX201" fmla="*/ 2424403 w 11414337"/>
              <a:gd name="csY201" fmla="*/ 0 h 563012"/>
              <a:gd name="csX202" fmla="*/ 2305356 w 11414337"/>
              <a:gd name="csY202" fmla="*/ 0 h 563012"/>
              <a:gd name="csX203" fmla="*/ 2146561 w 11414337"/>
              <a:gd name="csY203" fmla="*/ 0 h 563012"/>
              <a:gd name="csX204" fmla="*/ 2027514 w 11414337"/>
              <a:gd name="csY204" fmla="*/ 0 h 563012"/>
              <a:gd name="csX205" fmla="*/ 2004434 w 11414337"/>
              <a:gd name="csY205" fmla="*/ 0 h 563012"/>
              <a:gd name="csX206" fmla="*/ 1935320 w 11414337"/>
              <a:gd name="csY206" fmla="*/ 0 h 563012"/>
              <a:gd name="csX207" fmla="*/ 1885388 w 11414337"/>
              <a:gd name="csY207" fmla="*/ 0 h 563012"/>
              <a:gd name="csX208" fmla="*/ 1816273 w 11414337"/>
              <a:gd name="csY208" fmla="*/ 0 h 563012"/>
              <a:gd name="csX209" fmla="*/ 1726592 w 11414337"/>
              <a:gd name="csY209" fmla="*/ 0 h 563012"/>
              <a:gd name="csX210" fmla="*/ 1657478 w 11414337"/>
              <a:gd name="csY210" fmla="*/ 0 h 563012"/>
              <a:gd name="csX211" fmla="*/ 1621825 w 11414337"/>
              <a:gd name="csY211" fmla="*/ 0 h 563012"/>
              <a:gd name="csX212" fmla="*/ 1607546 w 11414337"/>
              <a:gd name="csY212" fmla="*/ 0 h 563012"/>
              <a:gd name="csX213" fmla="*/ 1552710 w 11414337"/>
              <a:gd name="csY213" fmla="*/ 0 h 563012"/>
              <a:gd name="csX214" fmla="*/ 1538431 w 11414337"/>
              <a:gd name="csY214" fmla="*/ 0 h 563012"/>
              <a:gd name="csX215" fmla="*/ 1522457 w 11414337"/>
              <a:gd name="csY215" fmla="*/ 0 h 563012"/>
              <a:gd name="csX216" fmla="*/ 1502779 w 11414337"/>
              <a:gd name="csY216" fmla="*/ 0 h 563012"/>
              <a:gd name="csX217" fmla="*/ 1453343 w 11414337"/>
              <a:gd name="csY217" fmla="*/ 0 h 563012"/>
              <a:gd name="csX218" fmla="*/ 1433663 w 11414337"/>
              <a:gd name="csY218" fmla="*/ 0 h 563012"/>
              <a:gd name="csX219" fmla="*/ 1403410 w 11414337"/>
              <a:gd name="csY219" fmla="*/ 0 h 563012"/>
              <a:gd name="csX220" fmla="*/ 1343983 w 11414337"/>
              <a:gd name="csY220" fmla="*/ 0 h 563012"/>
              <a:gd name="csX221" fmla="*/ 1334296 w 11414337"/>
              <a:gd name="csY221" fmla="*/ 0 h 563012"/>
              <a:gd name="csX222" fmla="*/ 1274868 w 11414337"/>
              <a:gd name="csY222" fmla="*/ 0 h 563012"/>
              <a:gd name="csX223" fmla="*/ 1244615 w 11414337"/>
              <a:gd name="csY223" fmla="*/ 0 h 563012"/>
              <a:gd name="csX224" fmla="*/ 1224937 w 11414337"/>
              <a:gd name="csY224" fmla="*/ 0 h 563012"/>
              <a:gd name="csX225" fmla="*/ 1175501 w 11414337"/>
              <a:gd name="csY225" fmla="*/ 0 h 563012"/>
              <a:gd name="csX226" fmla="*/ 1155821 w 11414337"/>
              <a:gd name="csY226" fmla="*/ 0 h 563012"/>
              <a:gd name="csX227" fmla="*/ 1139848 w 11414337"/>
              <a:gd name="csY227" fmla="*/ 0 h 563012"/>
              <a:gd name="csX228" fmla="*/ 1125568 w 11414337"/>
              <a:gd name="csY228" fmla="*/ 0 h 563012"/>
              <a:gd name="csX229" fmla="*/ 1070732 w 11414337"/>
              <a:gd name="csY229" fmla="*/ 0 h 563012"/>
              <a:gd name="csX230" fmla="*/ 1056454 w 11414337"/>
              <a:gd name="csY230" fmla="*/ 0 h 563012"/>
              <a:gd name="csX231" fmla="*/ 1020801 w 11414337"/>
              <a:gd name="csY231" fmla="*/ 0 h 563012"/>
              <a:gd name="csX232" fmla="*/ 951686 w 11414337"/>
              <a:gd name="csY232" fmla="*/ 0 h 563012"/>
              <a:gd name="csX233" fmla="*/ 862006 w 11414337"/>
              <a:gd name="csY233" fmla="*/ 0 h 563012"/>
              <a:gd name="csX234" fmla="*/ 792890 w 11414337"/>
              <a:gd name="csY234" fmla="*/ 0 h 563012"/>
              <a:gd name="csX235" fmla="*/ 742959 w 11414337"/>
              <a:gd name="csY235" fmla="*/ 0 h 563012"/>
              <a:gd name="csX236" fmla="*/ 673844 w 11414337"/>
              <a:gd name="csY236" fmla="*/ 0 h 563012"/>
              <a:gd name="csX237" fmla="*/ 650764 w 11414337"/>
              <a:gd name="csY237" fmla="*/ 0 h 563012"/>
              <a:gd name="csX238" fmla="*/ 531717 w 11414337"/>
              <a:gd name="csY238" fmla="*/ 0 h 563012"/>
              <a:gd name="csX239" fmla="*/ 372922 w 11414337"/>
              <a:gd name="csY239" fmla="*/ 0 h 563012"/>
              <a:gd name="csX240" fmla="*/ 253875 w 11414337"/>
              <a:gd name="csY240" fmla="*/ 0 h 563012"/>
              <a:gd name="csX241" fmla="*/ 186582 w 11414337"/>
              <a:gd name="csY241" fmla="*/ 30939 h 563012"/>
              <a:gd name="csX242" fmla="*/ 20375 w 11414337"/>
              <a:gd name="csY242" fmla="*/ 226344 h 563012"/>
              <a:gd name="csX243" fmla="*/ 0 w 11414337"/>
              <a:gd name="csY243" fmla="*/ 281416 h 563012"/>
              <a:gd name="csX244" fmla="*/ 0 w 11414337"/>
              <a:gd name="csY244" fmla="*/ 281418 h 563012"/>
              <a:gd name="csX245" fmla="*/ 20375 w 11414337"/>
              <a:gd name="csY245" fmla="*/ 336565 h 563012"/>
              <a:gd name="csX246" fmla="*/ 186582 w 11414337"/>
              <a:gd name="csY246" fmla="*/ 532073 h 563012"/>
              <a:gd name="csX247" fmla="*/ 253875 w 11414337"/>
              <a:gd name="csY247" fmla="*/ 563012 h 563012"/>
              <a:gd name="csX248" fmla="*/ 372922 w 11414337"/>
              <a:gd name="csY248" fmla="*/ 563012 h 563012"/>
              <a:gd name="csX249" fmla="*/ 531717 w 11414337"/>
              <a:gd name="csY249" fmla="*/ 563012 h 563012"/>
              <a:gd name="csX250" fmla="*/ 650764 w 11414337"/>
              <a:gd name="csY250" fmla="*/ 563012 h 563012"/>
              <a:gd name="csX251" fmla="*/ 673844 w 11414337"/>
              <a:gd name="csY251" fmla="*/ 563012 h 563012"/>
              <a:gd name="csX252" fmla="*/ 742959 w 11414337"/>
              <a:gd name="csY252" fmla="*/ 563012 h 563012"/>
              <a:gd name="csX253" fmla="*/ 792890 w 11414337"/>
              <a:gd name="csY253" fmla="*/ 563012 h 563012"/>
              <a:gd name="csX254" fmla="*/ 862006 w 11414337"/>
              <a:gd name="csY254" fmla="*/ 563012 h 563012"/>
              <a:gd name="csX255" fmla="*/ 951686 w 11414337"/>
              <a:gd name="csY255" fmla="*/ 563012 h 563012"/>
              <a:gd name="csX256" fmla="*/ 1020801 w 11414337"/>
              <a:gd name="csY256" fmla="*/ 563012 h 563012"/>
              <a:gd name="csX257" fmla="*/ 1056454 w 11414337"/>
              <a:gd name="csY257" fmla="*/ 563012 h 563012"/>
              <a:gd name="csX258" fmla="*/ 1070732 w 11414337"/>
              <a:gd name="csY258" fmla="*/ 563012 h 563012"/>
              <a:gd name="csX259" fmla="*/ 1125568 w 11414337"/>
              <a:gd name="csY259" fmla="*/ 563012 h 563012"/>
              <a:gd name="csX260" fmla="*/ 1139848 w 11414337"/>
              <a:gd name="csY260" fmla="*/ 563012 h 563012"/>
              <a:gd name="csX261" fmla="*/ 1155821 w 11414337"/>
              <a:gd name="csY261" fmla="*/ 563012 h 563012"/>
              <a:gd name="csX262" fmla="*/ 1175501 w 11414337"/>
              <a:gd name="csY262" fmla="*/ 563012 h 563012"/>
              <a:gd name="csX263" fmla="*/ 1224937 w 11414337"/>
              <a:gd name="csY263" fmla="*/ 563012 h 563012"/>
              <a:gd name="csX264" fmla="*/ 1244615 w 11414337"/>
              <a:gd name="csY264" fmla="*/ 563012 h 563012"/>
              <a:gd name="csX265" fmla="*/ 1274868 w 11414337"/>
              <a:gd name="csY265" fmla="*/ 563012 h 563012"/>
              <a:gd name="csX266" fmla="*/ 1334296 w 11414337"/>
              <a:gd name="csY266" fmla="*/ 563012 h 563012"/>
              <a:gd name="csX267" fmla="*/ 1343983 w 11414337"/>
              <a:gd name="csY267" fmla="*/ 563012 h 563012"/>
              <a:gd name="csX268" fmla="*/ 1403410 w 11414337"/>
              <a:gd name="csY268" fmla="*/ 563012 h 563012"/>
              <a:gd name="csX269" fmla="*/ 1433663 w 11414337"/>
              <a:gd name="csY269" fmla="*/ 563012 h 563012"/>
              <a:gd name="csX270" fmla="*/ 1453343 w 11414337"/>
              <a:gd name="csY270" fmla="*/ 563012 h 563012"/>
              <a:gd name="csX271" fmla="*/ 1502779 w 11414337"/>
              <a:gd name="csY271" fmla="*/ 563012 h 563012"/>
              <a:gd name="csX272" fmla="*/ 1522457 w 11414337"/>
              <a:gd name="csY272" fmla="*/ 563012 h 563012"/>
              <a:gd name="csX273" fmla="*/ 1538431 w 11414337"/>
              <a:gd name="csY273" fmla="*/ 563012 h 563012"/>
              <a:gd name="csX274" fmla="*/ 1552710 w 11414337"/>
              <a:gd name="csY274" fmla="*/ 563012 h 563012"/>
              <a:gd name="csX275" fmla="*/ 1607546 w 11414337"/>
              <a:gd name="csY275" fmla="*/ 563012 h 563012"/>
              <a:gd name="csX276" fmla="*/ 1621825 w 11414337"/>
              <a:gd name="csY276" fmla="*/ 563012 h 563012"/>
              <a:gd name="csX277" fmla="*/ 1657478 w 11414337"/>
              <a:gd name="csY277" fmla="*/ 563012 h 563012"/>
              <a:gd name="csX278" fmla="*/ 1726592 w 11414337"/>
              <a:gd name="csY278" fmla="*/ 563012 h 563012"/>
              <a:gd name="csX279" fmla="*/ 1816273 w 11414337"/>
              <a:gd name="csY279" fmla="*/ 563012 h 563012"/>
              <a:gd name="csX280" fmla="*/ 1885388 w 11414337"/>
              <a:gd name="csY280" fmla="*/ 563012 h 563012"/>
              <a:gd name="csX281" fmla="*/ 1935320 w 11414337"/>
              <a:gd name="csY281" fmla="*/ 563012 h 563012"/>
              <a:gd name="csX282" fmla="*/ 2004434 w 11414337"/>
              <a:gd name="csY282" fmla="*/ 563012 h 563012"/>
              <a:gd name="csX283" fmla="*/ 2027514 w 11414337"/>
              <a:gd name="csY283" fmla="*/ 563012 h 563012"/>
              <a:gd name="csX284" fmla="*/ 2146561 w 11414337"/>
              <a:gd name="csY284" fmla="*/ 563012 h 563012"/>
              <a:gd name="csX285" fmla="*/ 2305356 w 11414337"/>
              <a:gd name="csY285" fmla="*/ 563012 h 563012"/>
              <a:gd name="csX286" fmla="*/ 2424403 w 11414337"/>
              <a:gd name="csY286" fmla="*/ 563012 h 563012"/>
              <a:gd name="csX287" fmla="*/ 2430886 w 11414337"/>
              <a:gd name="csY287" fmla="*/ 561598 h 563012"/>
              <a:gd name="csX288" fmla="*/ 2437369 w 11414337"/>
              <a:gd name="csY288" fmla="*/ 563012 h 563012"/>
              <a:gd name="csX289" fmla="*/ 2556416 w 11414337"/>
              <a:gd name="csY289" fmla="*/ 563012 h 563012"/>
              <a:gd name="csX290" fmla="*/ 2715211 w 11414337"/>
              <a:gd name="csY290" fmla="*/ 563012 h 563012"/>
              <a:gd name="csX291" fmla="*/ 2834258 w 11414337"/>
              <a:gd name="csY291" fmla="*/ 563012 h 563012"/>
              <a:gd name="csX292" fmla="*/ 2857338 w 11414337"/>
              <a:gd name="csY292" fmla="*/ 563012 h 563012"/>
              <a:gd name="csX293" fmla="*/ 2926453 w 11414337"/>
              <a:gd name="csY293" fmla="*/ 563012 h 563012"/>
              <a:gd name="csX294" fmla="*/ 2976384 w 11414337"/>
              <a:gd name="csY294" fmla="*/ 563012 h 563012"/>
              <a:gd name="csX295" fmla="*/ 3045500 w 11414337"/>
              <a:gd name="csY295" fmla="*/ 563012 h 563012"/>
              <a:gd name="csX296" fmla="*/ 3135180 w 11414337"/>
              <a:gd name="csY296" fmla="*/ 563012 h 563012"/>
              <a:gd name="csX297" fmla="*/ 3204295 w 11414337"/>
              <a:gd name="csY297" fmla="*/ 563012 h 563012"/>
              <a:gd name="csX298" fmla="*/ 3239948 w 11414337"/>
              <a:gd name="csY298" fmla="*/ 563012 h 563012"/>
              <a:gd name="csX299" fmla="*/ 3254226 w 11414337"/>
              <a:gd name="csY299" fmla="*/ 563012 h 563012"/>
              <a:gd name="csX300" fmla="*/ 3309062 w 11414337"/>
              <a:gd name="csY300" fmla="*/ 563012 h 563012"/>
              <a:gd name="csX301" fmla="*/ 3323342 w 11414337"/>
              <a:gd name="csY301" fmla="*/ 563012 h 563012"/>
              <a:gd name="csX302" fmla="*/ 3339315 w 11414337"/>
              <a:gd name="csY302" fmla="*/ 563012 h 563012"/>
              <a:gd name="csX303" fmla="*/ 3358995 w 11414337"/>
              <a:gd name="csY303" fmla="*/ 563012 h 563012"/>
              <a:gd name="csX304" fmla="*/ 3408431 w 11414337"/>
              <a:gd name="csY304" fmla="*/ 563012 h 563012"/>
              <a:gd name="csX305" fmla="*/ 3428109 w 11414337"/>
              <a:gd name="csY305" fmla="*/ 563012 h 563012"/>
              <a:gd name="csX306" fmla="*/ 3458361 w 11414337"/>
              <a:gd name="csY306" fmla="*/ 563012 h 563012"/>
              <a:gd name="csX307" fmla="*/ 3517790 w 11414337"/>
              <a:gd name="csY307" fmla="*/ 563012 h 563012"/>
              <a:gd name="csX308" fmla="*/ 3527477 w 11414337"/>
              <a:gd name="csY308" fmla="*/ 563012 h 563012"/>
              <a:gd name="csX309" fmla="*/ 3586905 w 11414337"/>
              <a:gd name="csY309" fmla="*/ 563012 h 563012"/>
              <a:gd name="csX310" fmla="*/ 3617157 w 11414337"/>
              <a:gd name="csY310" fmla="*/ 563012 h 563012"/>
              <a:gd name="csX311" fmla="*/ 3636837 w 11414337"/>
              <a:gd name="csY311" fmla="*/ 563012 h 563012"/>
              <a:gd name="csX312" fmla="*/ 3686273 w 11414337"/>
              <a:gd name="csY312" fmla="*/ 563012 h 563012"/>
              <a:gd name="csX313" fmla="*/ 3705951 w 11414337"/>
              <a:gd name="csY313" fmla="*/ 563012 h 563012"/>
              <a:gd name="csX314" fmla="*/ 3721925 w 11414337"/>
              <a:gd name="csY314" fmla="*/ 563012 h 563012"/>
              <a:gd name="csX315" fmla="*/ 3736204 w 11414337"/>
              <a:gd name="csY315" fmla="*/ 563012 h 563012"/>
              <a:gd name="csX316" fmla="*/ 3791040 w 11414337"/>
              <a:gd name="csY316" fmla="*/ 563012 h 563012"/>
              <a:gd name="csX317" fmla="*/ 3805320 w 11414337"/>
              <a:gd name="csY317" fmla="*/ 563012 h 563012"/>
              <a:gd name="csX318" fmla="*/ 3826693 w 11414337"/>
              <a:gd name="csY318" fmla="*/ 563012 h 563012"/>
              <a:gd name="csX319" fmla="*/ 3840972 w 11414337"/>
              <a:gd name="csY319" fmla="*/ 563012 h 563012"/>
              <a:gd name="csX320" fmla="*/ 3910087 w 11414337"/>
              <a:gd name="csY320" fmla="*/ 563012 h 563012"/>
              <a:gd name="csX321" fmla="*/ 3945740 w 11414337"/>
              <a:gd name="csY321" fmla="*/ 563012 h 563012"/>
              <a:gd name="csX322" fmla="*/ 3999767 w 11414337"/>
              <a:gd name="csY322" fmla="*/ 563012 h 563012"/>
              <a:gd name="csX323" fmla="*/ 4068882 w 11414337"/>
              <a:gd name="csY323" fmla="*/ 563012 h 563012"/>
              <a:gd name="csX324" fmla="*/ 4104535 w 11414337"/>
              <a:gd name="csY324" fmla="*/ 563012 h 563012"/>
              <a:gd name="csX325" fmla="*/ 4118814 w 11414337"/>
              <a:gd name="csY325" fmla="*/ 563012 h 563012"/>
              <a:gd name="csX326" fmla="*/ 4187929 w 11414337"/>
              <a:gd name="csY326" fmla="*/ 563012 h 563012"/>
              <a:gd name="csX327" fmla="*/ 4211009 w 11414337"/>
              <a:gd name="csY327" fmla="*/ 563012 h 563012"/>
              <a:gd name="csX328" fmla="*/ 4223582 w 11414337"/>
              <a:gd name="csY328" fmla="*/ 563012 h 563012"/>
              <a:gd name="csX329" fmla="*/ 4246662 w 11414337"/>
              <a:gd name="csY329" fmla="*/ 563012 h 563012"/>
              <a:gd name="csX330" fmla="*/ 4315778 w 11414337"/>
              <a:gd name="csY330" fmla="*/ 563012 h 563012"/>
              <a:gd name="csX331" fmla="*/ 4330055 w 11414337"/>
              <a:gd name="csY331" fmla="*/ 563012 h 563012"/>
              <a:gd name="csX332" fmla="*/ 4365709 w 11414337"/>
              <a:gd name="csY332" fmla="*/ 563012 h 563012"/>
              <a:gd name="csX333" fmla="*/ 4434824 w 11414337"/>
              <a:gd name="csY333" fmla="*/ 563012 h 563012"/>
              <a:gd name="csX334" fmla="*/ 4488851 w 11414337"/>
              <a:gd name="csY334" fmla="*/ 563012 h 563012"/>
              <a:gd name="csX335" fmla="*/ 4524504 w 11414337"/>
              <a:gd name="csY335" fmla="*/ 563012 h 563012"/>
              <a:gd name="csX336" fmla="*/ 4593620 w 11414337"/>
              <a:gd name="csY336" fmla="*/ 563012 h 563012"/>
              <a:gd name="csX337" fmla="*/ 4607897 w 11414337"/>
              <a:gd name="csY337" fmla="*/ 563012 h 563012"/>
              <a:gd name="csX338" fmla="*/ 4629272 w 11414337"/>
              <a:gd name="csY338" fmla="*/ 563012 h 563012"/>
              <a:gd name="csX339" fmla="*/ 4643551 w 11414337"/>
              <a:gd name="csY339" fmla="*/ 563012 h 563012"/>
              <a:gd name="csX340" fmla="*/ 4698387 w 11414337"/>
              <a:gd name="csY340" fmla="*/ 563012 h 563012"/>
              <a:gd name="csX341" fmla="*/ 4712666 w 11414337"/>
              <a:gd name="csY341" fmla="*/ 563012 h 563012"/>
              <a:gd name="csX342" fmla="*/ 4728639 w 11414337"/>
              <a:gd name="csY342" fmla="*/ 563012 h 563012"/>
              <a:gd name="csX343" fmla="*/ 4748319 w 11414337"/>
              <a:gd name="csY343" fmla="*/ 563012 h 563012"/>
              <a:gd name="csX344" fmla="*/ 4797755 w 11414337"/>
              <a:gd name="csY344" fmla="*/ 563012 h 563012"/>
              <a:gd name="csX345" fmla="*/ 4817434 w 11414337"/>
              <a:gd name="csY345" fmla="*/ 563012 h 563012"/>
              <a:gd name="csX346" fmla="*/ 4847686 w 11414337"/>
              <a:gd name="csY346" fmla="*/ 563012 h 563012"/>
              <a:gd name="csX347" fmla="*/ 4907114 w 11414337"/>
              <a:gd name="csY347" fmla="*/ 563012 h 563012"/>
              <a:gd name="csX348" fmla="*/ 4916802 w 11414337"/>
              <a:gd name="csY348" fmla="*/ 563012 h 563012"/>
              <a:gd name="csX349" fmla="*/ 4976229 w 11414337"/>
              <a:gd name="csY349" fmla="*/ 563012 h 563012"/>
              <a:gd name="csX350" fmla="*/ 5006481 w 11414337"/>
              <a:gd name="csY350" fmla="*/ 563012 h 563012"/>
              <a:gd name="csX351" fmla="*/ 5026161 w 11414337"/>
              <a:gd name="csY351" fmla="*/ 563012 h 563012"/>
              <a:gd name="csX352" fmla="*/ 5075597 w 11414337"/>
              <a:gd name="csY352" fmla="*/ 563012 h 563012"/>
              <a:gd name="csX353" fmla="*/ 5095275 w 11414337"/>
              <a:gd name="csY353" fmla="*/ 563012 h 563012"/>
              <a:gd name="csX354" fmla="*/ 5111249 w 11414337"/>
              <a:gd name="csY354" fmla="*/ 563012 h 563012"/>
              <a:gd name="csX355" fmla="*/ 5125528 w 11414337"/>
              <a:gd name="csY355" fmla="*/ 563012 h 563012"/>
              <a:gd name="csX356" fmla="*/ 5180364 w 11414337"/>
              <a:gd name="csY356" fmla="*/ 563012 h 563012"/>
              <a:gd name="csX357" fmla="*/ 5194644 w 11414337"/>
              <a:gd name="csY357" fmla="*/ 563012 h 563012"/>
              <a:gd name="csX358" fmla="*/ 5230296 w 11414337"/>
              <a:gd name="csY358" fmla="*/ 563012 h 563012"/>
              <a:gd name="csX359" fmla="*/ 5288095 w 11414337"/>
              <a:gd name="csY359" fmla="*/ 563012 h 563012"/>
              <a:gd name="csX360" fmla="*/ 5299411 w 11414337"/>
              <a:gd name="csY360" fmla="*/ 563012 h 563012"/>
              <a:gd name="csX361" fmla="*/ 5389091 w 11414337"/>
              <a:gd name="csY361" fmla="*/ 563012 h 563012"/>
              <a:gd name="csX362" fmla="*/ 5407142 w 11414337"/>
              <a:gd name="csY362" fmla="*/ 563012 h 563012"/>
              <a:gd name="csX363" fmla="*/ 5458206 w 11414337"/>
              <a:gd name="csY363" fmla="*/ 563012 h 563012"/>
              <a:gd name="csX364" fmla="*/ 5508138 w 11414337"/>
              <a:gd name="csY364" fmla="*/ 563012 h 563012"/>
              <a:gd name="csX365" fmla="*/ 5565937 w 11414337"/>
              <a:gd name="csY365" fmla="*/ 563012 h 563012"/>
              <a:gd name="csX366" fmla="*/ 5577253 w 11414337"/>
              <a:gd name="csY366" fmla="*/ 563012 h 563012"/>
              <a:gd name="csX367" fmla="*/ 5600333 w 11414337"/>
              <a:gd name="csY367" fmla="*/ 563012 h 563012"/>
              <a:gd name="csX368" fmla="*/ 5684984 w 11414337"/>
              <a:gd name="csY368" fmla="*/ 563012 h 563012"/>
              <a:gd name="csX369" fmla="*/ 5708064 w 11414337"/>
              <a:gd name="csY369" fmla="*/ 563012 h 563012"/>
              <a:gd name="csX370" fmla="*/ 5719379 w 11414337"/>
              <a:gd name="csY370" fmla="*/ 563012 h 563012"/>
              <a:gd name="csX371" fmla="*/ 5777180 w 11414337"/>
              <a:gd name="csY371" fmla="*/ 563012 h 563012"/>
              <a:gd name="csX372" fmla="*/ 5827111 w 11414337"/>
              <a:gd name="csY372" fmla="*/ 563012 h 563012"/>
              <a:gd name="csX373" fmla="*/ 5878175 w 11414337"/>
              <a:gd name="csY373" fmla="*/ 563012 h 563012"/>
              <a:gd name="csX374" fmla="*/ 5896226 w 11414337"/>
              <a:gd name="csY374" fmla="*/ 563012 h 563012"/>
              <a:gd name="csX375" fmla="*/ 5985906 w 11414337"/>
              <a:gd name="csY375" fmla="*/ 563012 h 563012"/>
              <a:gd name="csX376" fmla="*/ 5997221 w 11414337"/>
              <a:gd name="csY376" fmla="*/ 563012 h 563012"/>
              <a:gd name="csX377" fmla="*/ 6055022 w 11414337"/>
              <a:gd name="csY377" fmla="*/ 563012 h 563012"/>
              <a:gd name="csX378" fmla="*/ 6090674 w 11414337"/>
              <a:gd name="csY378" fmla="*/ 563012 h 563012"/>
              <a:gd name="csX379" fmla="*/ 6104953 w 11414337"/>
              <a:gd name="csY379" fmla="*/ 563012 h 563012"/>
              <a:gd name="csX380" fmla="*/ 6159789 w 11414337"/>
              <a:gd name="csY380" fmla="*/ 563012 h 563012"/>
              <a:gd name="csX381" fmla="*/ 6174068 w 11414337"/>
              <a:gd name="csY381" fmla="*/ 563012 h 563012"/>
              <a:gd name="csX382" fmla="*/ 6190041 w 11414337"/>
              <a:gd name="csY382" fmla="*/ 563012 h 563012"/>
              <a:gd name="csX383" fmla="*/ 6209721 w 11414337"/>
              <a:gd name="csY383" fmla="*/ 563012 h 563012"/>
              <a:gd name="csX384" fmla="*/ 6259157 w 11414337"/>
              <a:gd name="csY384" fmla="*/ 563012 h 563012"/>
              <a:gd name="csX385" fmla="*/ 6278836 w 11414337"/>
              <a:gd name="csY385" fmla="*/ 563012 h 563012"/>
              <a:gd name="csX386" fmla="*/ 6309088 w 11414337"/>
              <a:gd name="csY386" fmla="*/ 563012 h 563012"/>
              <a:gd name="csX387" fmla="*/ 6368516 w 11414337"/>
              <a:gd name="csY387" fmla="*/ 563012 h 563012"/>
              <a:gd name="csX388" fmla="*/ 6378204 w 11414337"/>
              <a:gd name="csY388" fmla="*/ 563012 h 563012"/>
              <a:gd name="csX389" fmla="*/ 6437631 w 11414337"/>
              <a:gd name="csY389" fmla="*/ 563012 h 563012"/>
              <a:gd name="csX390" fmla="*/ 6467883 w 11414337"/>
              <a:gd name="csY390" fmla="*/ 563012 h 563012"/>
              <a:gd name="csX391" fmla="*/ 6487563 w 11414337"/>
              <a:gd name="csY391" fmla="*/ 563012 h 563012"/>
              <a:gd name="csX392" fmla="*/ 6536999 w 11414337"/>
              <a:gd name="csY392" fmla="*/ 563012 h 563012"/>
              <a:gd name="csX393" fmla="*/ 6556677 w 11414337"/>
              <a:gd name="csY393" fmla="*/ 563012 h 563012"/>
              <a:gd name="csX394" fmla="*/ 6572651 w 11414337"/>
              <a:gd name="csY394" fmla="*/ 563012 h 563012"/>
              <a:gd name="csX395" fmla="*/ 6586930 w 11414337"/>
              <a:gd name="csY395" fmla="*/ 563012 h 563012"/>
              <a:gd name="csX396" fmla="*/ 6641766 w 11414337"/>
              <a:gd name="csY396" fmla="*/ 563012 h 563012"/>
              <a:gd name="csX397" fmla="*/ 6656046 w 11414337"/>
              <a:gd name="csY397" fmla="*/ 563012 h 563012"/>
              <a:gd name="csX398" fmla="*/ 6691698 w 11414337"/>
              <a:gd name="csY398" fmla="*/ 563012 h 563012"/>
              <a:gd name="csX399" fmla="*/ 6760813 w 11414337"/>
              <a:gd name="csY399" fmla="*/ 563012 h 563012"/>
              <a:gd name="csX400" fmla="*/ 6850493 w 11414337"/>
              <a:gd name="csY400" fmla="*/ 563012 h 563012"/>
              <a:gd name="csX401" fmla="*/ 6919608 w 11414337"/>
              <a:gd name="csY401" fmla="*/ 563012 h 563012"/>
              <a:gd name="csX402" fmla="*/ 6969540 w 11414337"/>
              <a:gd name="csY402" fmla="*/ 563012 h 563012"/>
              <a:gd name="csX403" fmla="*/ 7038655 w 11414337"/>
              <a:gd name="csY403" fmla="*/ 563012 h 563012"/>
              <a:gd name="csX404" fmla="*/ 7061735 w 11414337"/>
              <a:gd name="csY404" fmla="*/ 563012 h 563012"/>
              <a:gd name="csX405" fmla="*/ 7180781 w 11414337"/>
              <a:gd name="csY405" fmla="*/ 563012 h 563012"/>
              <a:gd name="csX406" fmla="*/ 7339577 w 11414337"/>
              <a:gd name="csY406" fmla="*/ 563012 h 563012"/>
              <a:gd name="csX407" fmla="*/ 7450060 w 11414337"/>
              <a:gd name="csY407" fmla="*/ 563012 h 563012"/>
              <a:gd name="csX408" fmla="*/ 7458623 w 11414337"/>
              <a:gd name="csY408" fmla="*/ 563012 h 563012"/>
              <a:gd name="csX409" fmla="*/ 7569107 w 11414337"/>
              <a:gd name="csY409" fmla="*/ 563012 h 563012"/>
              <a:gd name="csX410" fmla="*/ 7727901 w 11414337"/>
              <a:gd name="csY410" fmla="*/ 563012 h 563012"/>
              <a:gd name="csX411" fmla="*/ 7846948 w 11414337"/>
              <a:gd name="csY411" fmla="*/ 563012 h 563012"/>
              <a:gd name="csX412" fmla="*/ 7870028 w 11414337"/>
              <a:gd name="csY412" fmla="*/ 563012 h 563012"/>
              <a:gd name="csX413" fmla="*/ 7939144 w 11414337"/>
              <a:gd name="csY413" fmla="*/ 563012 h 563012"/>
              <a:gd name="csX414" fmla="*/ 7989075 w 11414337"/>
              <a:gd name="csY414" fmla="*/ 563012 h 563012"/>
              <a:gd name="csX415" fmla="*/ 8058191 w 11414337"/>
              <a:gd name="csY415" fmla="*/ 563012 h 563012"/>
              <a:gd name="csX416" fmla="*/ 8147870 w 11414337"/>
              <a:gd name="csY416" fmla="*/ 563012 h 563012"/>
              <a:gd name="csX417" fmla="*/ 8216986 w 11414337"/>
              <a:gd name="csY417" fmla="*/ 563012 h 563012"/>
              <a:gd name="csX418" fmla="*/ 8252639 w 11414337"/>
              <a:gd name="csY418" fmla="*/ 563012 h 563012"/>
              <a:gd name="csX419" fmla="*/ 8266917 w 11414337"/>
              <a:gd name="csY419" fmla="*/ 563012 h 563012"/>
              <a:gd name="csX420" fmla="*/ 8321753 w 11414337"/>
              <a:gd name="csY420" fmla="*/ 563012 h 563012"/>
              <a:gd name="csX421" fmla="*/ 8336033 w 11414337"/>
              <a:gd name="csY421" fmla="*/ 563012 h 563012"/>
              <a:gd name="csX422" fmla="*/ 8352005 w 11414337"/>
              <a:gd name="csY422" fmla="*/ 563012 h 563012"/>
              <a:gd name="csX423" fmla="*/ 8371686 w 11414337"/>
              <a:gd name="csY423" fmla="*/ 563012 h 563012"/>
              <a:gd name="csX424" fmla="*/ 8421121 w 11414337"/>
              <a:gd name="csY424" fmla="*/ 563012 h 563012"/>
              <a:gd name="csX425" fmla="*/ 8440800 w 11414337"/>
              <a:gd name="csY425" fmla="*/ 563012 h 563012"/>
              <a:gd name="csX426" fmla="*/ 8471052 w 11414337"/>
              <a:gd name="csY426" fmla="*/ 563012 h 563012"/>
              <a:gd name="csX427" fmla="*/ 8530481 w 11414337"/>
              <a:gd name="csY427" fmla="*/ 563012 h 563012"/>
              <a:gd name="csX428" fmla="*/ 8540168 w 11414337"/>
              <a:gd name="csY428" fmla="*/ 563012 h 563012"/>
              <a:gd name="csX429" fmla="*/ 8599595 w 11414337"/>
              <a:gd name="csY429" fmla="*/ 563012 h 563012"/>
              <a:gd name="csX430" fmla="*/ 8629847 w 11414337"/>
              <a:gd name="csY430" fmla="*/ 563012 h 563012"/>
              <a:gd name="csX431" fmla="*/ 8649528 w 11414337"/>
              <a:gd name="csY431" fmla="*/ 563012 h 563012"/>
              <a:gd name="csX432" fmla="*/ 8698963 w 11414337"/>
              <a:gd name="csY432" fmla="*/ 563012 h 563012"/>
              <a:gd name="csX433" fmla="*/ 8718642 w 11414337"/>
              <a:gd name="csY433" fmla="*/ 563012 h 563012"/>
              <a:gd name="csX434" fmla="*/ 8734616 w 11414337"/>
              <a:gd name="csY434" fmla="*/ 563012 h 563012"/>
              <a:gd name="csX435" fmla="*/ 8748894 w 11414337"/>
              <a:gd name="csY435" fmla="*/ 563012 h 563012"/>
              <a:gd name="csX436" fmla="*/ 8803730 w 11414337"/>
              <a:gd name="csY436" fmla="*/ 563012 h 563012"/>
              <a:gd name="csX437" fmla="*/ 8818010 w 11414337"/>
              <a:gd name="csY437" fmla="*/ 563012 h 563012"/>
              <a:gd name="csX438" fmla="*/ 8853663 w 11414337"/>
              <a:gd name="csY438" fmla="*/ 563012 h 563012"/>
              <a:gd name="csX439" fmla="*/ 8922777 w 11414337"/>
              <a:gd name="csY439" fmla="*/ 563012 h 563012"/>
              <a:gd name="csX440" fmla="*/ 8989933 w 11414337"/>
              <a:gd name="csY440" fmla="*/ 563012 h 563012"/>
              <a:gd name="csX441" fmla="*/ 9012458 w 11414337"/>
              <a:gd name="csY441" fmla="*/ 563012 h 563012"/>
              <a:gd name="csX442" fmla="*/ 9081572 w 11414337"/>
              <a:gd name="csY442" fmla="*/ 563012 h 563012"/>
              <a:gd name="csX443" fmla="*/ 9108980 w 11414337"/>
              <a:gd name="csY443" fmla="*/ 563012 h 563012"/>
              <a:gd name="csX444" fmla="*/ 9131505 w 11414337"/>
              <a:gd name="csY444" fmla="*/ 563012 h 563012"/>
              <a:gd name="csX445" fmla="*/ 9200619 w 11414337"/>
              <a:gd name="csY445" fmla="*/ 563012 h 563012"/>
              <a:gd name="csX446" fmla="*/ 9223699 w 11414337"/>
              <a:gd name="csY446" fmla="*/ 563012 h 563012"/>
              <a:gd name="csX447" fmla="*/ 9267775 w 11414337"/>
              <a:gd name="csY447" fmla="*/ 563012 h 563012"/>
              <a:gd name="csX448" fmla="*/ 9342746 w 11414337"/>
              <a:gd name="csY448" fmla="*/ 563012 h 563012"/>
              <a:gd name="csX449" fmla="*/ 9386822 w 11414337"/>
              <a:gd name="csY449" fmla="*/ 563012 h 563012"/>
              <a:gd name="csX450" fmla="*/ 9409902 w 11414337"/>
              <a:gd name="csY450" fmla="*/ 563012 h 563012"/>
              <a:gd name="csX451" fmla="*/ 9479018 w 11414337"/>
              <a:gd name="csY451" fmla="*/ 563012 h 563012"/>
              <a:gd name="csX452" fmla="*/ 9501541 w 11414337"/>
              <a:gd name="csY452" fmla="*/ 563012 h 563012"/>
              <a:gd name="csX453" fmla="*/ 9528949 w 11414337"/>
              <a:gd name="csY453" fmla="*/ 563012 h 563012"/>
              <a:gd name="csX454" fmla="*/ 9598065 w 11414337"/>
              <a:gd name="csY454" fmla="*/ 563012 h 563012"/>
              <a:gd name="csX455" fmla="*/ 9620588 w 11414337"/>
              <a:gd name="csY455" fmla="*/ 563012 h 563012"/>
              <a:gd name="csX456" fmla="*/ 9687744 w 11414337"/>
              <a:gd name="csY456" fmla="*/ 563012 h 563012"/>
              <a:gd name="csX457" fmla="*/ 9756860 w 11414337"/>
              <a:gd name="csY457" fmla="*/ 563012 h 563012"/>
              <a:gd name="csX458" fmla="*/ 9792512 w 11414337"/>
              <a:gd name="csY458" fmla="*/ 563012 h 563012"/>
              <a:gd name="csX459" fmla="*/ 9806791 w 11414337"/>
              <a:gd name="csY459" fmla="*/ 563012 h 563012"/>
              <a:gd name="csX460" fmla="*/ 9861627 w 11414337"/>
              <a:gd name="csY460" fmla="*/ 563012 h 563012"/>
              <a:gd name="csX461" fmla="*/ 9875907 w 11414337"/>
              <a:gd name="csY461" fmla="*/ 563012 h 563012"/>
              <a:gd name="csX462" fmla="*/ 9891879 w 11414337"/>
              <a:gd name="csY462" fmla="*/ 563012 h 563012"/>
              <a:gd name="csX463" fmla="*/ 9911559 w 11414337"/>
              <a:gd name="csY463" fmla="*/ 563012 h 563012"/>
              <a:gd name="csX464" fmla="*/ 9960995 w 11414337"/>
              <a:gd name="csY464" fmla="*/ 563012 h 563012"/>
              <a:gd name="csX465" fmla="*/ 9980674 w 11414337"/>
              <a:gd name="csY465" fmla="*/ 563012 h 563012"/>
              <a:gd name="csX466" fmla="*/ 10010926 w 11414337"/>
              <a:gd name="csY466" fmla="*/ 563012 h 563012"/>
              <a:gd name="csX467" fmla="*/ 10070354 w 11414337"/>
              <a:gd name="csY467" fmla="*/ 563012 h 563012"/>
              <a:gd name="csX468" fmla="*/ 10080042 w 11414337"/>
              <a:gd name="csY468" fmla="*/ 563012 h 563012"/>
              <a:gd name="csX469" fmla="*/ 10139469 w 11414337"/>
              <a:gd name="csY469" fmla="*/ 563012 h 563012"/>
              <a:gd name="csX470" fmla="*/ 10169721 w 11414337"/>
              <a:gd name="csY470" fmla="*/ 563012 h 563012"/>
              <a:gd name="csX471" fmla="*/ 10189401 w 11414337"/>
              <a:gd name="csY471" fmla="*/ 563012 h 563012"/>
              <a:gd name="csX472" fmla="*/ 10238837 w 11414337"/>
              <a:gd name="csY472" fmla="*/ 563012 h 563012"/>
              <a:gd name="csX473" fmla="*/ 10258516 w 11414337"/>
              <a:gd name="csY473" fmla="*/ 563012 h 563012"/>
              <a:gd name="csX474" fmla="*/ 10274490 w 11414337"/>
              <a:gd name="csY474" fmla="*/ 563012 h 563012"/>
              <a:gd name="csX475" fmla="*/ 10288768 w 11414337"/>
              <a:gd name="csY475" fmla="*/ 563012 h 563012"/>
              <a:gd name="csX476" fmla="*/ 10343604 w 11414337"/>
              <a:gd name="csY476" fmla="*/ 563012 h 563012"/>
              <a:gd name="csX477" fmla="*/ 10357884 w 11414337"/>
              <a:gd name="csY477" fmla="*/ 563012 h 563012"/>
              <a:gd name="csX478" fmla="*/ 10393536 w 11414337"/>
              <a:gd name="csY478" fmla="*/ 563012 h 563012"/>
              <a:gd name="csX479" fmla="*/ 10462651 w 11414337"/>
              <a:gd name="csY479" fmla="*/ 563012 h 563012"/>
              <a:gd name="csX480" fmla="*/ 10552332 w 11414337"/>
              <a:gd name="csY480" fmla="*/ 563012 h 563012"/>
              <a:gd name="csX481" fmla="*/ 10621446 w 11414337"/>
              <a:gd name="csY481" fmla="*/ 563012 h 563012"/>
              <a:gd name="csX482" fmla="*/ 10671378 w 11414337"/>
              <a:gd name="csY482" fmla="*/ 563012 h 563012"/>
              <a:gd name="csX483" fmla="*/ 10740493 w 11414337"/>
              <a:gd name="csY483" fmla="*/ 563012 h 563012"/>
              <a:gd name="csX484" fmla="*/ 10763573 w 11414337"/>
              <a:gd name="csY484" fmla="*/ 563012 h 563012"/>
              <a:gd name="csX485" fmla="*/ 10882620 w 11414337"/>
              <a:gd name="csY485" fmla="*/ 563012 h 563012"/>
              <a:gd name="csX486" fmla="*/ 11041415 w 11414337"/>
              <a:gd name="csY486" fmla="*/ 563012 h 563012"/>
              <a:gd name="csX487" fmla="*/ 11160462 w 11414337"/>
              <a:gd name="csY487" fmla="*/ 563012 h 563012"/>
              <a:gd name="csX488" fmla="*/ 11227754 w 11414337"/>
              <a:gd name="csY488" fmla="*/ 532073 h 563012"/>
              <a:gd name="csX489" fmla="*/ 11393962 w 11414337"/>
              <a:gd name="csY489" fmla="*/ 336565 h 563012"/>
              <a:gd name="csX490" fmla="*/ 11414337 w 11414337"/>
              <a:gd name="csY490" fmla="*/ 281418 h 563012"/>
              <a:gd name="csX491" fmla="*/ 11414337 w 11414337"/>
              <a:gd name="csY491" fmla="*/ 281416 h 563012"/>
              <a:gd name="csX492" fmla="*/ 11393962 w 11414337"/>
              <a:gd name="csY492" fmla="*/ 226344 h 563012"/>
              <a:gd name="csX493" fmla="*/ 11227754 w 11414337"/>
              <a:gd name="csY493" fmla="*/ 30939 h 563012"/>
              <a:gd name="csX494" fmla="*/ 11160462 w 11414337"/>
              <a:gd name="csY494" fmla="*/ 0 h 5630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  <a:cxn ang="0">
                <a:pos x="csX86" y="csY86"/>
              </a:cxn>
              <a:cxn ang="0">
                <a:pos x="csX87" y="csY87"/>
              </a:cxn>
              <a:cxn ang="0">
                <a:pos x="csX88" y="csY88"/>
              </a:cxn>
              <a:cxn ang="0">
                <a:pos x="csX89" y="csY89"/>
              </a:cxn>
              <a:cxn ang="0">
                <a:pos x="csX90" y="csY90"/>
              </a:cxn>
              <a:cxn ang="0">
                <a:pos x="csX91" y="csY91"/>
              </a:cxn>
              <a:cxn ang="0">
                <a:pos x="csX92" y="csY92"/>
              </a:cxn>
              <a:cxn ang="0">
                <a:pos x="csX93" y="csY93"/>
              </a:cxn>
              <a:cxn ang="0">
                <a:pos x="csX94" y="csY94"/>
              </a:cxn>
              <a:cxn ang="0">
                <a:pos x="csX95" y="csY95"/>
              </a:cxn>
              <a:cxn ang="0">
                <a:pos x="csX96" y="csY96"/>
              </a:cxn>
              <a:cxn ang="0">
                <a:pos x="csX97" y="csY97"/>
              </a:cxn>
              <a:cxn ang="0">
                <a:pos x="csX98" y="csY98"/>
              </a:cxn>
              <a:cxn ang="0">
                <a:pos x="csX99" y="csY99"/>
              </a:cxn>
              <a:cxn ang="0">
                <a:pos x="csX100" y="csY100"/>
              </a:cxn>
              <a:cxn ang="0">
                <a:pos x="csX101" y="csY101"/>
              </a:cxn>
              <a:cxn ang="0">
                <a:pos x="csX102" y="csY102"/>
              </a:cxn>
              <a:cxn ang="0">
                <a:pos x="csX103" y="csY103"/>
              </a:cxn>
              <a:cxn ang="0">
                <a:pos x="csX104" y="csY104"/>
              </a:cxn>
              <a:cxn ang="0">
                <a:pos x="csX105" y="csY105"/>
              </a:cxn>
              <a:cxn ang="0">
                <a:pos x="csX106" y="csY106"/>
              </a:cxn>
              <a:cxn ang="0">
                <a:pos x="csX107" y="csY107"/>
              </a:cxn>
              <a:cxn ang="0">
                <a:pos x="csX108" y="csY108"/>
              </a:cxn>
              <a:cxn ang="0">
                <a:pos x="csX109" y="csY109"/>
              </a:cxn>
              <a:cxn ang="0">
                <a:pos x="csX110" y="csY110"/>
              </a:cxn>
              <a:cxn ang="0">
                <a:pos x="csX111" y="csY111"/>
              </a:cxn>
              <a:cxn ang="0">
                <a:pos x="csX112" y="csY112"/>
              </a:cxn>
              <a:cxn ang="0">
                <a:pos x="csX113" y="csY113"/>
              </a:cxn>
              <a:cxn ang="0">
                <a:pos x="csX114" y="csY114"/>
              </a:cxn>
              <a:cxn ang="0">
                <a:pos x="csX115" y="csY115"/>
              </a:cxn>
              <a:cxn ang="0">
                <a:pos x="csX116" y="csY116"/>
              </a:cxn>
              <a:cxn ang="0">
                <a:pos x="csX117" y="csY117"/>
              </a:cxn>
              <a:cxn ang="0">
                <a:pos x="csX118" y="csY118"/>
              </a:cxn>
              <a:cxn ang="0">
                <a:pos x="csX119" y="csY119"/>
              </a:cxn>
              <a:cxn ang="0">
                <a:pos x="csX120" y="csY120"/>
              </a:cxn>
              <a:cxn ang="0">
                <a:pos x="csX121" y="csY121"/>
              </a:cxn>
              <a:cxn ang="0">
                <a:pos x="csX122" y="csY122"/>
              </a:cxn>
              <a:cxn ang="0">
                <a:pos x="csX123" y="csY123"/>
              </a:cxn>
              <a:cxn ang="0">
                <a:pos x="csX124" y="csY124"/>
              </a:cxn>
              <a:cxn ang="0">
                <a:pos x="csX125" y="csY125"/>
              </a:cxn>
              <a:cxn ang="0">
                <a:pos x="csX126" y="csY126"/>
              </a:cxn>
              <a:cxn ang="0">
                <a:pos x="csX127" y="csY127"/>
              </a:cxn>
              <a:cxn ang="0">
                <a:pos x="csX128" y="csY128"/>
              </a:cxn>
              <a:cxn ang="0">
                <a:pos x="csX129" y="csY129"/>
              </a:cxn>
              <a:cxn ang="0">
                <a:pos x="csX130" y="csY130"/>
              </a:cxn>
              <a:cxn ang="0">
                <a:pos x="csX131" y="csY131"/>
              </a:cxn>
              <a:cxn ang="0">
                <a:pos x="csX132" y="csY132"/>
              </a:cxn>
              <a:cxn ang="0">
                <a:pos x="csX133" y="csY133"/>
              </a:cxn>
              <a:cxn ang="0">
                <a:pos x="csX134" y="csY134"/>
              </a:cxn>
              <a:cxn ang="0">
                <a:pos x="csX135" y="csY135"/>
              </a:cxn>
              <a:cxn ang="0">
                <a:pos x="csX136" y="csY136"/>
              </a:cxn>
              <a:cxn ang="0">
                <a:pos x="csX137" y="csY137"/>
              </a:cxn>
              <a:cxn ang="0">
                <a:pos x="csX138" y="csY138"/>
              </a:cxn>
              <a:cxn ang="0">
                <a:pos x="csX139" y="csY139"/>
              </a:cxn>
              <a:cxn ang="0">
                <a:pos x="csX140" y="csY140"/>
              </a:cxn>
              <a:cxn ang="0">
                <a:pos x="csX141" y="csY141"/>
              </a:cxn>
              <a:cxn ang="0">
                <a:pos x="csX142" y="csY142"/>
              </a:cxn>
              <a:cxn ang="0">
                <a:pos x="csX143" y="csY143"/>
              </a:cxn>
              <a:cxn ang="0">
                <a:pos x="csX144" y="csY144"/>
              </a:cxn>
              <a:cxn ang="0">
                <a:pos x="csX145" y="csY145"/>
              </a:cxn>
              <a:cxn ang="0">
                <a:pos x="csX146" y="csY146"/>
              </a:cxn>
              <a:cxn ang="0">
                <a:pos x="csX147" y="csY147"/>
              </a:cxn>
              <a:cxn ang="0">
                <a:pos x="csX148" y="csY148"/>
              </a:cxn>
              <a:cxn ang="0">
                <a:pos x="csX149" y="csY149"/>
              </a:cxn>
              <a:cxn ang="0">
                <a:pos x="csX150" y="csY150"/>
              </a:cxn>
              <a:cxn ang="0">
                <a:pos x="csX151" y="csY151"/>
              </a:cxn>
              <a:cxn ang="0">
                <a:pos x="csX152" y="csY152"/>
              </a:cxn>
              <a:cxn ang="0">
                <a:pos x="csX153" y="csY153"/>
              </a:cxn>
              <a:cxn ang="0">
                <a:pos x="csX154" y="csY154"/>
              </a:cxn>
              <a:cxn ang="0">
                <a:pos x="csX155" y="csY155"/>
              </a:cxn>
              <a:cxn ang="0">
                <a:pos x="csX156" y="csY156"/>
              </a:cxn>
              <a:cxn ang="0">
                <a:pos x="csX157" y="csY157"/>
              </a:cxn>
              <a:cxn ang="0">
                <a:pos x="csX158" y="csY158"/>
              </a:cxn>
              <a:cxn ang="0">
                <a:pos x="csX159" y="csY159"/>
              </a:cxn>
              <a:cxn ang="0">
                <a:pos x="csX160" y="csY160"/>
              </a:cxn>
              <a:cxn ang="0">
                <a:pos x="csX161" y="csY161"/>
              </a:cxn>
              <a:cxn ang="0">
                <a:pos x="csX162" y="csY162"/>
              </a:cxn>
              <a:cxn ang="0">
                <a:pos x="csX163" y="csY163"/>
              </a:cxn>
              <a:cxn ang="0">
                <a:pos x="csX164" y="csY164"/>
              </a:cxn>
              <a:cxn ang="0">
                <a:pos x="csX165" y="csY165"/>
              </a:cxn>
              <a:cxn ang="0">
                <a:pos x="csX166" y="csY166"/>
              </a:cxn>
              <a:cxn ang="0">
                <a:pos x="csX167" y="csY167"/>
              </a:cxn>
              <a:cxn ang="0">
                <a:pos x="csX168" y="csY168"/>
              </a:cxn>
              <a:cxn ang="0">
                <a:pos x="csX169" y="csY169"/>
              </a:cxn>
              <a:cxn ang="0">
                <a:pos x="csX170" y="csY170"/>
              </a:cxn>
              <a:cxn ang="0">
                <a:pos x="csX171" y="csY171"/>
              </a:cxn>
              <a:cxn ang="0">
                <a:pos x="csX172" y="csY172"/>
              </a:cxn>
              <a:cxn ang="0">
                <a:pos x="csX173" y="csY173"/>
              </a:cxn>
              <a:cxn ang="0">
                <a:pos x="csX174" y="csY174"/>
              </a:cxn>
              <a:cxn ang="0">
                <a:pos x="csX175" y="csY175"/>
              </a:cxn>
              <a:cxn ang="0">
                <a:pos x="csX176" y="csY176"/>
              </a:cxn>
              <a:cxn ang="0">
                <a:pos x="csX177" y="csY177"/>
              </a:cxn>
              <a:cxn ang="0">
                <a:pos x="csX178" y="csY178"/>
              </a:cxn>
              <a:cxn ang="0">
                <a:pos x="csX179" y="csY179"/>
              </a:cxn>
              <a:cxn ang="0">
                <a:pos x="csX180" y="csY180"/>
              </a:cxn>
              <a:cxn ang="0">
                <a:pos x="csX181" y="csY181"/>
              </a:cxn>
              <a:cxn ang="0">
                <a:pos x="csX182" y="csY182"/>
              </a:cxn>
              <a:cxn ang="0">
                <a:pos x="csX183" y="csY183"/>
              </a:cxn>
              <a:cxn ang="0">
                <a:pos x="csX184" y="csY184"/>
              </a:cxn>
              <a:cxn ang="0">
                <a:pos x="csX185" y="csY185"/>
              </a:cxn>
              <a:cxn ang="0">
                <a:pos x="csX186" y="csY186"/>
              </a:cxn>
              <a:cxn ang="0">
                <a:pos x="csX187" y="csY187"/>
              </a:cxn>
              <a:cxn ang="0">
                <a:pos x="csX188" y="csY188"/>
              </a:cxn>
              <a:cxn ang="0">
                <a:pos x="csX189" y="csY189"/>
              </a:cxn>
              <a:cxn ang="0">
                <a:pos x="csX190" y="csY190"/>
              </a:cxn>
              <a:cxn ang="0">
                <a:pos x="csX191" y="csY191"/>
              </a:cxn>
              <a:cxn ang="0">
                <a:pos x="csX192" y="csY192"/>
              </a:cxn>
              <a:cxn ang="0">
                <a:pos x="csX193" y="csY193"/>
              </a:cxn>
              <a:cxn ang="0">
                <a:pos x="csX194" y="csY194"/>
              </a:cxn>
              <a:cxn ang="0">
                <a:pos x="csX195" y="csY195"/>
              </a:cxn>
              <a:cxn ang="0">
                <a:pos x="csX196" y="csY196"/>
              </a:cxn>
              <a:cxn ang="0">
                <a:pos x="csX197" y="csY197"/>
              </a:cxn>
              <a:cxn ang="0">
                <a:pos x="csX198" y="csY198"/>
              </a:cxn>
              <a:cxn ang="0">
                <a:pos x="csX199" y="csY199"/>
              </a:cxn>
              <a:cxn ang="0">
                <a:pos x="csX200" y="csY200"/>
              </a:cxn>
              <a:cxn ang="0">
                <a:pos x="csX201" y="csY201"/>
              </a:cxn>
              <a:cxn ang="0">
                <a:pos x="csX202" y="csY202"/>
              </a:cxn>
              <a:cxn ang="0">
                <a:pos x="csX203" y="csY203"/>
              </a:cxn>
              <a:cxn ang="0">
                <a:pos x="csX204" y="csY204"/>
              </a:cxn>
              <a:cxn ang="0">
                <a:pos x="csX205" y="csY205"/>
              </a:cxn>
              <a:cxn ang="0">
                <a:pos x="csX206" y="csY206"/>
              </a:cxn>
              <a:cxn ang="0">
                <a:pos x="csX207" y="csY207"/>
              </a:cxn>
              <a:cxn ang="0">
                <a:pos x="csX208" y="csY208"/>
              </a:cxn>
              <a:cxn ang="0">
                <a:pos x="csX209" y="csY209"/>
              </a:cxn>
              <a:cxn ang="0">
                <a:pos x="csX210" y="csY210"/>
              </a:cxn>
              <a:cxn ang="0">
                <a:pos x="csX211" y="csY211"/>
              </a:cxn>
              <a:cxn ang="0">
                <a:pos x="csX212" y="csY212"/>
              </a:cxn>
              <a:cxn ang="0">
                <a:pos x="csX213" y="csY213"/>
              </a:cxn>
              <a:cxn ang="0">
                <a:pos x="csX214" y="csY214"/>
              </a:cxn>
              <a:cxn ang="0">
                <a:pos x="csX215" y="csY215"/>
              </a:cxn>
              <a:cxn ang="0">
                <a:pos x="csX216" y="csY216"/>
              </a:cxn>
              <a:cxn ang="0">
                <a:pos x="csX217" y="csY217"/>
              </a:cxn>
              <a:cxn ang="0">
                <a:pos x="csX218" y="csY218"/>
              </a:cxn>
              <a:cxn ang="0">
                <a:pos x="csX219" y="csY219"/>
              </a:cxn>
              <a:cxn ang="0">
                <a:pos x="csX220" y="csY220"/>
              </a:cxn>
              <a:cxn ang="0">
                <a:pos x="csX221" y="csY221"/>
              </a:cxn>
              <a:cxn ang="0">
                <a:pos x="csX222" y="csY222"/>
              </a:cxn>
              <a:cxn ang="0">
                <a:pos x="csX223" y="csY223"/>
              </a:cxn>
              <a:cxn ang="0">
                <a:pos x="csX224" y="csY224"/>
              </a:cxn>
              <a:cxn ang="0">
                <a:pos x="csX225" y="csY225"/>
              </a:cxn>
              <a:cxn ang="0">
                <a:pos x="csX226" y="csY226"/>
              </a:cxn>
              <a:cxn ang="0">
                <a:pos x="csX227" y="csY227"/>
              </a:cxn>
              <a:cxn ang="0">
                <a:pos x="csX228" y="csY228"/>
              </a:cxn>
              <a:cxn ang="0">
                <a:pos x="csX229" y="csY229"/>
              </a:cxn>
              <a:cxn ang="0">
                <a:pos x="csX230" y="csY230"/>
              </a:cxn>
              <a:cxn ang="0">
                <a:pos x="csX231" y="csY231"/>
              </a:cxn>
              <a:cxn ang="0">
                <a:pos x="csX232" y="csY232"/>
              </a:cxn>
              <a:cxn ang="0">
                <a:pos x="csX233" y="csY233"/>
              </a:cxn>
              <a:cxn ang="0">
                <a:pos x="csX234" y="csY234"/>
              </a:cxn>
              <a:cxn ang="0">
                <a:pos x="csX235" y="csY235"/>
              </a:cxn>
              <a:cxn ang="0">
                <a:pos x="csX236" y="csY236"/>
              </a:cxn>
              <a:cxn ang="0">
                <a:pos x="csX237" y="csY237"/>
              </a:cxn>
              <a:cxn ang="0">
                <a:pos x="csX238" y="csY238"/>
              </a:cxn>
              <a:cxn ang="0">
                <a:pos x="csX239" y="csY239"/>
              </a:cxn>
              <a:cxn ang="0">
                <a:pos x="csX240" y="csY240"/>
              </a:cxn>
              <a:cxn ang="0">
                <a:pos x="csX241" y="csY241"/>
              </a:cxn>
              <a:cxn ang="0">
                <a:pos x="csX242" y="csY242"/>
              </a:cxn>
              <a:cxn ang="0">
                <a:pos x="csX243" y="csY243"/>
              </a:cxn>
              <a:cxn ang="0">
                <a:pos x="csX244" y="csY244"/>
              </a:cxn>
              <a:cxn ang="0">
                <a:pos x="csX245" y="csY245"/>
              </a:cxn>
              <a:cxn ang="0">
                <a:pos x="csX246" y="csY246"/>
              </a:cxn>
              <a:cxn ang="0">
                <a:pos x="csX247" y="csY247"/>
              </a:cxn>
              <a:cxn ang="0">
                <a:pos x="csX248" y="csY248"/>
              </a:cxn>
              <a:cxn ang="0">
                <a:pos x="csX249" y="csY249"/>
              </a:cxn>
              <a:cxn ang="0">
                <a:pos x="csX250" y="csY250"/>
              </a:cxn>
              <a:cxn ang="0">
                <a:pos x="csX251" y="csY251"/>
              </a:cxn>
              <a:cxn ang="0">
                <a:pos x="csX252" y="csY252"/>
              </a:cxn>
              <a:cxn ang="0">
                <a:pos x="csX253" y="csY253"/>
              </a:cxn>
              <a:cxn ang="0">
                <a:pos x="csX254" y="csY254"/>
              </a:cxn>
              <a:cxn ang="0">
                <a:pos x="csX255" y="csY255"/>
              </a:cxn>
              <a:cxn ang="0">
                <a:pos x="csX256" y="csY256"/>
              </a:cxn>
              <a:cxn ang="0">
                <a:pos x="csX257" y="csY257"/>
              </a:cxn>
              <a:cxn ang="0">
                <a:pos x="csX258" y="csY258"/>
              </a:cxn>
              <a:cxn ang="0">
                <a:pos x="csX259" y="csY259"/>
              </a:cxn>
              <a:cxn ang="0">
                <a:pos x="csX260" y="csY260"/>
              </a:cxn>
              <a:cxn ang="0">
                <a:pos x="csX261" y="csY261"/>
              </a:cxn>
              <a:cxn ang="0">
                <a:pos x="csX262" y="csY262"/>
              </a:cxn>
              <a:cxn ang="0">
                <a:pos x="csX263" y="csY263"/>
              </a:cxn>
              <a:cxn ang="0">
                <a:pos x="csX264" y="csY264"/>
              </a:cxn>
              <a:cxn ang="0">
                <a:pos x="csX265" y="csY265"/>
              </a:cxn>
              <a:cxn ang="0">
                <a:pos x="csX266" y="csY266"/>
              </a:cxn>
              <a:cxn ang="0">
                <a:pos x="csX267" y="csY267"/>
              </a:cxn>
              <a:cxn ang="0">
                <a:pos x="csX268" y="csY268"/>
              </a:cxn>
              <a:cxn ang="0">
                <a:pos x="csX269" y="csY269"/>
              </a:cxn>
              <a:cxn ang="0">
                <a:pos x="csX270" y="csY270"/>
              </a:cxn>
              <a:cxn ang="0">
                <a:pos x="csX271" y="csY271"/>
              </a:cxn>
              <a:cxn ang="0">
                <a:pos x="csX272" y="csY272"/>
              </a:cxn>
              <a:cxn ang="0">
                <a:pos x="csX273" y="csY273"/>
              </a:cxn>
              <a:cxn ang="0">
                <a:pos x="csX274" y="csY274"/>
              </a:cxn>
              <a:cxn ang="0">
                <a:pos x="csX275" y="csY275"/>
              </a:cxn>
              <a:cxn ang="0">
                <a:pos x="csX276" y="csY276"/>
              </a:cxn>
              <a:cxn ang="0">
                <a:pos x="csX277" y="csY277"/>
              </a:cxn>
              <a:cxn ang="0">
                <a:pos x="csX278" y="csY278"/>
              </a:cxn>
              <a:cxn ang="0">
                <a:pos x="csX279" y="csY279"/>
              </a:cxn>
              <a:cxn ang="0">
                <a:pos x="csX280" y="csY280"/>
              </a:cxn>
              <a:cxn ang="0">
                <a:pos x="csX281" y="csY281"/>
              </a:cxn>
              <a:cxn ang="0">
                <a:pos x="csX282" y="csY282"/>
              </a:cxn>
              <a:cxn ang="0">
                <a:pos x="csX283" y="csY283"/>
              </a:cxn>
              <a:cxn ang="0">
                <a:pos x="csX284" y="csY284"/>
              </a:cxn>
              <a:cxn ang="0">
                <a:pos x="csX285" y="csY285"/>
              </a:cxn>
              <a:cxn ang="0">
                <a:pos x="csX286" y="csY286"/>
              </a:cxn>
              <a:cxn ang="0">
                <a:pos x="csX287" y="csY287"/>
              </a:cxn>
              <a:cxn ang="0">
                <a:pos x="csX288" y="csY288"/>
              </a:cxn>
              <a:cxn ang="0">
                <a:pos x="csX289" y="csY289"/>
              </a:cxn>
              <a:cxn ang="0">
                <a:pos x="csX290" y="csY290"/>
              </a:cxn>
              <a:cxn ang="0">
                <a:pos x="csX291" y="csY291"/>
              </a:cxn>
              <a:cxn ang="0">
                <a:pos x="csX292" y="csY292"/>
              </a:cxn>
              <a:cxn ang="0">
                <a:pos x="csX293" y="csY293"/>
              </a:cxn>
              <a:cxn ang="0">
                <a:pos x="csX294" y="csY294"/>
              </a:cxn>
              <a:cxn ang="0">
                <a:pos x="csX295" y="csY295"/>
              </a:cxn>
              <a:cxn ang="0">
                <a:pos x="csX296" y="csY296"/>
              </a:cxn>
              <a:cxn ang="0">
                <a:pos x="csX297" y="csY297"/>
              </a:cxn>
              <a:cxn ang="0">
                <a:pos x="csX298" y="csY298"/>
              </a:cxn>
              <a:cxn ang="0">
                <a:pos x="csX299" y="csY299"/>
              </a:cxn>
              <a:cxn ang="0">
                <a:pos x="csX300" y="csY300"/>
              </a:cxn>
              <a:cxn ang="0">
                <a:pos x="csX301" y="csY301"/>
              </a:cxn>
              <a:cxn ang="0">
                <a:pos x="csX302" y="csY302"/>
              </a:cxn>
              <a:cxn ang="0">
                <a:pos x="csX303" y="csY303"/>
              </a:cxn>
              <a:cxn ang="0">
                <a:pos x="csX304" y="csY304"/>
              </a:cxn>
              <a:cxn ang="0">
                <a:pos x="csX305" y="csY305"/>
              </a:cxn>
              <a:cxn ang="0">
                <a:pos x="csX306" y="csY306"/>
              </a:cxn>
              <a:cxn ang="0">
                <a:pos x="csX307" y="csY307"/>
              </a:cxn>
              <a:cxn ang="0">
                <a:pos x="csX308" y="csY308"/>
              </a:cxn>
              <a:cxn ang="0">
                <a:pos x="csX309" y="csY309"/>
              </a:cxn>
              <a:cxn ang="0">
                <a:pos x="csX310" y="csY310"/>
              </a:cxn>
              <a:cxn ang="0">
                <a:pos x="csX311" y="csY311"/>
              </a:cxn>
              <a:cxn ang="0">
                <a:pos x="csX312" y="csY312"/>
              </a:cxn>
              <a:cxn ang="0">
                <a:pos x="csX313" y="csY313"/>
              </a:cxn>
              <a:cxn ang="0">
                <a:pos x="csX314" y="csY314"/>
              </a:cxn>
              <a:cxn ang="0">
                <a:pos x="csX315" y="csY315"/>
              </a:cxn>
              <a:cxn ang="0">
                <a:pos x="csX316" y="csY316"/>
              </a:cxn>
              <a:cxn ang="0">
                <a:pos x="csX317" y="csY317"/>
              </a:cxn>
              <a:cxn ang="0">
                <a:pos x="csX318" y="csY318"/>
              </a:cxn>
              <a:cxn ang="0">
                <a:pos x="csX319" y="csY319"/>
              </a:cxn>
              <a:cxn ang="0">
                <a:pos x="csX320" y="csY320"/>
              </a:cxn>
              <a:cxn ang="0">
                <a:pos x="csX321" y="csY321"/>
              </a:cxn>
              <a:cxn ang="0">
                <a:pos x="csX322" y="csY322"/>
              </a:cxn>
              <a:cxn ang="0">
                <a:pos x="csX323" y="csY323"/>
              </a:cxn>
              <a:cxn ang="0">
                <a:pos x="csX324" y="csY324"/>
              </a:cxn>
              <a:cxn ang="0">
                <a:pos x="csX325" y="csY325"/>
              </a:cxn>
              <a:cxn ang="0">
                <a:pos x="csX326" y="csY326"/>
              </a:cxn>
              <a:cxn ang="0">
                <a:pos x="csX327" y="csY327"/>
              </a:cxn>
              <a:cxn ang="0">
                <a:pos x="csX328" y="csY328"/>
              </a:cxn>
              <a:cxn ang="0">
                <a:pos x="csX329" y="csY329"/>
              </a:cxn>
              <a:cxn ang="0">
                <a:pos x="csX330" y="csY330"/>
              </a:cxn>
              <a:cxn ang="0">
                <a:pos x="csX331" y="csY331"/>
              </a:cxn>
              <a:cxn ang="0">
                <a:pos x="csX332" y="csY332"/>
              </a:cxn>
              <a:cxn ang="0">
                <a:pos x="csX333" y="csY333"/>
              </a:cxn>
              <a:cxn ang="0">
                <a:pos x="csX334" y="csY334"/>
              </a:cxn>
              <a:cxn ang="0">
                <a:pos x="csX335" y="csY335"/>
              </a:cxn>
              <a:cxn ang="0">
                <a:pos x="csX336" y="csY336"/>
              </a:cxn>
              <a:cxn ang="0">
                <a:pos x="csX337" y="csY337"/>
              </a:cxn>
              <a:cxn ang="0">
                <a:pos x="csX338" y="csY338"/>
              </a:cxn>
              <a:cxn ang="0">
                <a:pos x="csX339" y="csY339"/>
              </a:cxn>
              <a:cxn ang="0">
                <a:pos x="csX340" y="csY340"/>
              </a:cxn>
              <a:cxn ang="0">
                <a:pos x="csX341" y="csY341"/>
              </a:cxn>
              <a:cxn ang="0">
                <a:pos x="csX342" y="csY342"/>
              </a:cxn>
              <a:cxn ang="0">
                <a:pos x="csX343" y="csY343"/>
              </a:cxn>
              <a:cxn ang="0">
                <a:pos x="csX344" y="csY344"/>
              </a:cxn>
              <a:cxn ang="0">
                <a:pos x="csX345" y="csY345"/>
              </a:cxn>
              <a:cxn ang="0">
                <a:pos x="csX346" y="csY346"/>
              </a:cxn>
              <a:cxn ang="0">
                <a:pos x="csX347" y="csY347"/>
              </a:cxn>
              <a:cxn ang="0">
                <a:pos x="csX348" y="csY348"/>
              </a:cxn>
              <a:cxn ang="0">
                <a:pos x="csX349" y="csY349"/>
              </a:cxn>
              <a:cxn ang="0">
                <a:pos x="csX350" y="csY350"/>
              </a:cxn>
              <a:cxn ang="0">
                <a:pos x="csX351" y="csY351"/>
              </a:cxn>
              <a:cxn ang="0">
                <a:pos x="csX352" y="csY352"/>
              </a:cxn>
              <a:cxn ang="0">
                <a:pos x="csX353" y="csY353"/>
              </a:cxn>
              <a:cxn ang="0">
                <a:pos x="csX354" y="csY354"/>
              </a:cxn>
              <a:cxn ang="0">
                <a:pos x="csX355" y="csY355"/>
              </a:cxn>
              <a:cxn ang="0">
                <a:pos x="csX356" y="csY356"/>
              </a:cxn>
              <a:cxn ang="0">
                <a:pos x="csX357" y="csY357"/>
              </a:cxn>
              <a:cxn ang="0">
                <a:pos x="csX358" y="csY358"/>
              </a:cxn>
              <a:cxn ang="0">
                <a:pos x="csX359" y="csY359"/>
              </a:cxn>
              <a:cxn ang="0">
                <a:pos x="csX360" y="csY360"/>
              </a:cxn>
              <a:cxn ang="0">
                <a:pos x="csX361" y="csY361"/>
              </a:cxn>
              <a:cxn ang="0">
                <a:pos x="csX362" y="csY362"/>
              </a:cxn>
              <a:cxn ang="0">
                <a:pos x="csX363" y="csY363"/>
              </a:cxn>
              <a:cxn ang="0">
                <a:pos x="csX364" y="csY364"/>
              </a:cxn>
              <a:cxn ang="0">
                <a:pos x="csX365" y="csY365"/>
              </a:cxn>
              <a:cxn ang="0">
                <a:pos x="csX366" y="csY366"/>
              </a:cxn>
              <a:cxn ang="0">
                <a:pos x="csX367" y="csY367"/>
              </a:cxn>
              <a:cxn ang="0">
                <a:pos x="csX368" y="csY368"/>
              </a:cxn>
              <a:cxn ang="0">
                <a:pos x="csX369" y="csY369"/>
              </a:cxn>
              <a:cxn ang="0">
                <a:pos x="csX370" y="csY370"/>
              </a:cxn>
              <a:cxn ang="0">
                <a:pos x="csX371" y="csY371"/>
              </a:cxn>
              <a:cxn ang="0">
                <a:pos x="csX372" y="csY372"/>
              </a:cxn>
              <a:cxn ang="0">
                <a:pos x="csX373" y="csY373"/>
              </a:cxn>
              <a:cxn ang="0">
                <a:pos x="csX374" y="csY374"/>
              </a:cxn>
              <a:cxn ang="0">
                <a:pos x="csX375" y="csY375"/>
              </a:cxn>
              <a:cxn ang="0">
                <a:pos x="csX376" y="csY376"/>
              </a:cxn>
              <a:cxn ang="0">
                <a:pos x="csX377" y="csY377"/>
              </a:cxn>
              <a:cxn ang="0">
                <a:pos x="csX378" y="csY378"/>
              </a:cxn>
              <a:cxn ang="0">
                <a:pos x="csX379" y="csY379"/>
              </a:cxn>
              <a:cxn ang="0">
                <a:pos x="csX380" y="csY380"/>
              </a:cxn>
              <a:cxn ang="0">
                <a:pos x="csX381" y="csY381"/>
              </a:cxn>
              <a:cxn ang="0">
                <a:pos x="csX382" y="csY382"/>
              </a:cxn>
              <a:cxn ang="0">
                <a:pos x="csX383" y="csY383"/>
              </a:cxn>
              <a:cxn ang="0">
                <a:pos x="csX384" y="csY384"/>
              </a:cxn>
              <a:cxn ang="0">
                <a:pos x="csX385" y="csY385"/>
              </a:cxn>
              <a:cxn ang="0">
                <a:pos x="csX386" y="csY386"/>
              </a:cxn>
              <a:cxn ang="0">
                <a:pos x="csX387" y="csY387"/>
              </a:cxn>
              <a:cxn ang="0">
                <a:pos x="csX388" y="csY388"/>
              </a:cxn>
              <a:cxn ang="0">
                <a:pos x="csX389" y="csY389"/>
              </a:cxn>
              <a:cxn ang="0">
                <a:pos x="csX390" y="csY390"/>
              </a:cxn>
              <a:cxn ang="0">
                <a:pos x="csX391" y="csY391"/>
              </a:cxn>
              <a:cxn ang="0">
                <a:pos x="csX392" y="csY392"/>
              </a:cxn>
              <a:cxn ang="0">
                <a:pos x="csX393" y="csY393"/>
              </a:cxn>
              <a:cxn ang="0">
                <a:pos x="csX394" y="csY394"/>
              </a:cxn>
              <a:cxn ang="0">
                <a:pos x="csX395" y="csY395"/>
              </a:cxn>
              <a:cxn ang="0">
                <a:pos x="csX396" y="csY396"/>
              </a:cxn>
              <a:cxn ang="0">
                <a:pos x="csX397" y="csY397"/>
              </a:cxn>
              <a:cxn ang="0">
                <a:pos x="csX398" y="csY398"/>
              </a:cxn>
              <a:cxn ang="0">
                <a:pos x="csX399" y="csY399"/>
              </a:cxn>
              <a:cxn ang="0">
                <a:pos x="csX400" y="csY400"/>
              </a:cxn>
              <a:cxn ang="0">
                <a:pos x="csX401" y="csY401"/>
              </a:cxn>
              <a:cxn ang="0">
                <a:pos x="csX402" y="csY402"/>
              </a:cxn>
              <a:cxn ang="0">
                <a:pos x="csX403" y="csY403"/>
              </a:cxn>
              <a:cxn ang="0">
                <a:pos x="csX404" y="csY404"/>
              </a:cxn>
              <a:cxn ang="0">
                <a:pos x="csX405" y="csY405"/>
              </a:cxn>
              <a:cxn ang="0">
                <a:pos x="csX406" y="csY406"/>
              </a:cxn>
              <a:cxn ang="0">
                <a:pos x="csX407" y="csY407"/>
              </a:cxn>
              <a:cxn ang="0">
                <a:pos x="csX408" y="csY408"/>
              </a:cxn>
              <a:cxn ang="0">
                <a:pos x="csX409" y="csY409"/>
              </a:cxn>
              <a:cxn ang="0">
                <a:pos x="csX410" y="csY410"/>
              </a:cxn>
              <a:cxn ang="0">
                <a:pos x="csX411" y="csY411"/>
              </a:cxn>
              <a:cxn ang="0">
                <a:pos x="csX412" y="csY412"/>
              </a:cxn>
              <a:cxn ang="0">
                <a:pos x="csX413" y="csY413"/>
              </a:cxn>
              <a:cxn ang="0">
                <a:pos x="csX414" y="csY414"/>
              </a:cxn>
              <a:cxn ang="0">
                <a:pos x="csX415" y="csY415"/>
              </a:cxn>
              <a:cxn ang="0">
                <a:pos x="csX416" y="csY416"/>
              </a:cxn>
              <a:cxn ang="0">
                <a:pos x="csX417" y="csY417"/>
              </a:cxn>
              <a:cxn ang="0">
                <a:pos x="csX418" y="csY418"/>
              </a:cxn>
              <a:cxn ang="0">
                <a:pos x="csX419" y="csY419"/>
              </a:cxn>
              <a:cxn ang="0">
                <a:pos x="csX420" y="csY420"/>
              </a:cxn>
              <a:cxn ang="0">
                <a:pos x="csX421" y="csY421"/>
              </a:cxn>
              <a:cxn ang="0">
                <a:pos x="csX422" y="csY422"/>
              </a:cxn>
              <a:cxn ang="0">
                <a:pos x="csX423" y="csY423"/>
              </a:cxn>
              <a:cxn ang="0">
                <a:pos x="csX424" y="csY424"/>
              </a:cxn>
              <a:cxn ang="0">
                <a:pos x="csX425" y="csY425"/>
              </a:cxn>
              <a:cxn ang="0">
                <a:pos x="csX426" y="csY426"/>
              </a:cxn>
              <a:cxn ang="0">
                <a:pos x="csX427" y="csY427"/>
              </a:cxn>
              <a:cxn ang="0">
                <a:pos x="csX428" y="csY428"/>
              </a:cxn>
              <a:cxn ang="0">
                <a:pos x="csX429" y="csY429"/>
              </a:cxn>
              <a:cxn ang="0">
                <a:pos x="csX430" y="csY430"/>
              </a:cxn>
              <a:cxn ang="0">
                <a:pos x="csX431" y="csY431"/>
              </a:cxn>
              <a:cxn ang="0">
                <a:pos x="csX432" y="csY432"/>
              </a:cxn>
              <a:cxn ang="0">
                <a:pos x="csX433" y="csY433"/>
              </a:cxn>
              <a:cxn ang="0">
                <a:pos x="csX434" y="csY434"/>
              </a:cxn>
              <a:cxn ang="0">
                <a:pos x="csX435" y="csY435"/>
              </a:cxn>
              <a:cxn ang="0">
                <a:pos x="csX436" y="csY436"/>
              </a:cxn>
              <a:cxn ang="0">
                <a:pos x="csX437" y="csY437"/>
              </a:cxn>
              <a:cxn ang="0">
                <a:pos x="csX438" y="csY438"/>
              </a:cxn>
              <a:cxn ang="0">
                <a:pos x="csX439" y="csY439"/>
              </a:cxn>
              <a:cxn ang="0">
                <a:pos x="csX440" y="csY440"/>
              </a:cxn>
              <a:cxn ang="0">
                <a:pos x="csX441" y="csY441"/>
              </a:cxn>
              <a:cxn ang="0">
                <a:pos x="csX442" y="csY442"/>
              </a:cxn>
              <a:cxn ang="0">
                <a:pos x="csX443" y="csY443"/>
              </a:cxn>
              <a:cxn ang="0">
                <a:pos x="csX444" y="csY444"/>
              </a:cxn>
              <a:cxn ang="0">
                <a:pos x="csX445" y="csY445"/>
              </a:cxn>
              <a:cxn ang="0">
                <a:pos x="csX446" y="csY446"/>
              </a:cxn>
              <a:cxn ang="0">
                <a:pos x="csX447" y="csY447"/>
              </a:cxn>
              <a:cxn ang="0">
                <a:pos x="csX448" y="csY448"/>
              </a:cxn>
              <a:cxn ang="0">
                <a:pos x="csX449" y="csY449"/>
              </a:cxn>
              <a:cxn ang="0">
                <a:pos x="csX450" y="csY450"/>
              </a:cxn>
              <a:cxn ang="0">
                <a:pos x="csX451" y="csY451"/>
              </a:cxn>
              <a:cxn ang="0">
                <a:pos x="csX452" y="csY452"/>
              </a:cxn>
              <a:cxn ang="0">
                <a:pos x="csX453" y="csY453"/>
              </a:cxn>
              <a:cxn ang="0">
                <a:pos x="csX454" y="csY454"/>
              </a:cxn>
              <a:cxn ang="0">
                <a:pos x="csX455" y="csY455"/>
              </a:cxn>
              <a:cxn ang="0">
                <a:pos x="csX456" y="csY456"/>
              </a:cxn>
              <a:cxn ang="0">
                <a:pos x="csX457" y="csY457"/>
              </a:cxn>
              <a:cxn ang="0">
                <a:pos x="csX458" y="csY458"/>
              </a:cxn>
              <a:cxn ang="0">
                <a:pos x="csX459" y="csY459"/>
              </a:cxn>
              <a:cxn ang="0">
                <a:pos x="csX460" y="csY460"/>
              </a:cxn>
              <a:cxn ang="0">
                <a:pos x="csX461" y="csY461"/>
              </a:cxn>
              <a:cxn ang="0">
                <a:pos x="csX462" y="csY462"/>
              </a:cxn>
              <a:cxn ang="0">
                <a:pos x="csX463" y="csY463"/>
              </a:cxn>
              <a:cxn ang="0">
                <a:pos x="csX464" y="csY464"/>
              </a:cxn>
              <a:cxn ang="0">
                <a:pos x="csX465" y="csY465"/>
              </a:cxn>
              <a:cxn ang="0">
                <a:pos x="csX466" y="csY466"/>
              </a:cxn>
              <a:cxn ang="0">
                <a:pos x="csX467" y="csY467"/>
              </a:cxn>
              <a:cxn ang="0">
                <a:pos x="csX468" y="csY468"/>
              </a:cxn>
              <a:cxn ang="0">
                <a:pos x="csX469" y="csY469"/>
              </a:cxn>
              <a:cxn ang="0">
                <a:pos x="csX470" y="csY470"/>
              </a:cxn>
              <a:cxn ang="0">
                <a:pos x="csX471" y="csY471"/>
              </a:cxn>
              <a:cxn ang="0">
                <a:pos x="csX472" y="csY472"/>
              </a:cxn>
              <a:cxn ang="0">
                <a:pos x="csX473" y="csY473"/>
              </a:cxn>
              <a:cxn ang="0">
                <a:pos x="csX474" y="csY474"/>
              </a:cxn>
              <a:cxn ang="0">
                <a:pos x="csX475" y="csY475"/>
              </a:cxn>
              <a:cxn ang="0">
                <a:pos x="csX476" y="csY476"/>
              </a:cxn>
              <a:cxn ang="0">
                <a:pos x="csX477" y="csY477"/>
              </a:cxn>
              <a:cxn ang="0">
                <a:pos x="csX478" y="csY478"/>
              </a:cxn>
              <a:cxn ang="0">
                <a:pos x="csX479" y="csY479"/>
              </a:cxn>
              <a:cxn ang="0">
                <a:pos x="csX480" y="csY480"/>
              </a:cxn>
              <a:cxn ang="0">
                <a:pos x="csX481" y="csY481"/>
              </a:cxn>
              <a:cxn ang="0">
                <a:pos x="csX482" y="csY482"/>
              </a:cxn>
              <a:cxn ang="0">
                <a:pos x="csX483" y="csY483"/>
              </a:cxn>
              <a:cxn ang="0">
                <a:pos x="csX484" y="csY484"/>
              </a:cxn>
              <a:cxn ang="0">
                <a:pos x="csX485" y="csY485"/>
              </a:cxn>
              <a:cxn ang="0">
                <a:pos x="csX486" y="csY486"/>
              </a:cxn>
              <a:cxn ang="0">
                <a:pos x="csX487" y="csY487"/>
              </a:cxn>
              <a:cxn ang="0">
                <a:pos x="csX488" y="csY488"/>
              </a:cxn>
              <a:cxn ang="0">
                <a:pos x="csX489" y="csY489"/>
              </a:cxn>
              <a:cxn ang="0">
                <a:pos x="csX490" y="csY490"/>
              </a:cxn>
              <a:cxn ang="0">
                <a:pos x="csX491" y="csY491"/>
              </a:cxn>
              <a:cxn ang="0">
                <a:pos x="csX492" y="csY492"/>
              </a:cxn>
              <a:cxn ang="0">
                <a:pos x="csX493" y="csY493"/>
              </a:cxn>
              <a:cxn ang="0">
                <a:pos x="csX494" y="csY494"/>
              </a:cxn>
            </a:cxnLst>
            <a:rect l="l" t="t" r="r" b="b"/>
            <a:pathLst>
              <a:path w="11414337" h="563012">
                <a:moveTo>
                  <a:pt x="11160462" y="0"/>
                </a:moveTo>
                <a:lnTo>
                  <a:pt x="11041415" y="0"/>
                </a:lnTo>
                <a:lnTo>
                  <a:pt x="10882620" y="0"/>
                </a:lnTo>
                <a:lnTo>
                  <a:pt x="10763573" y="0"/>
                </a:lnTo>
                <a:lnTo>
                  <a:pt x="10740493" y="0"/>
                </a:lnTo>
                <a:lnTo>
                  <a:pt x="10671378" y="0"/>
                </a:lnTo>
                <a:lnTo>
                  <a:pt x="10621446" y="0"/>
                </a:lnTo>
                <a:lnTo>
                  <a:pt x="10552332" y="0"/>
                </a:lnTo>
                <a:lnTo>
                  <a:pt x="10462651" y="0"/>
                </a:lnTo>
                <a:lnTo>
                  <a:pt x="10393536" y="0"/>
                </a:lnTo>
                <a:lnTo>
                  <a:pt x="10357884" y="0"/>
                </a:lnTo>
                <a:lnTo>
                  <a:pt x="10343604" y="0"/>
                </a:lnTo>
                <a:lnTo>
                  <a:pt x="10288768" y="0"/>
                </a:lnTo>
                <a:lnTo>
                  <a:pt x="10274490" y="0"/>
                </a:lnTo>
                <a:lnTo>
                  <a:pt x="10258516" y="0"/>
                </a:lnTo>
                <a:lnTo>
                  <a:pt x="10238837" y="0"/>
                </a:lnTo>
                <a:lnTo>
                  <a:pt x="10189401" y="0"/>
                </a:lnTo>
                <a:lnTo>
                  <a:pt x="10169721" y="0"/>
                </a:lnTo>
                <a:lnTo>
                  <a:pt x="10139469" y="0"/>
                </a:lnTo>
                <a:lnTo>
                  <a:pt x="10080042" y="0"/>
                </a:lnTo>
                <a:lnTo>
                  <a:pt x="10070354" y="0"/>
                </a:lnTo>
                <a:lnTo>
                  <a:pt x="10010926" y="0"/>
                </a:lnTo>
                <a:lnTo>
                  <a:pt x="9980674" y="0"/>
                </a:lnTo>
                <a:lnTo>
                  <a:pt x="9960995" y="0"/>
                </a:lnTo>
                <a:lnTo>
                  <a:pt x="9911559" y="0"/>
                </a:lnTo>
                <a:lnTo>
                  <a:pt x="9891879" y="0"/>
                </a:lnTo>
                <a:lnTo>
                  <a:pt x="9875907" y="0"/>
                </a:lnTo>
                <a:lnTo>
                  <a:pt x="9861627" y="0"/>
                </a:lnTo>
                <a:lnTo>
                  <a:pt x="9806791" y="0"/>
                </a:lnTo>
                <a:lnTo>
                  <a:pt x="9792512" y="0"/>
                </a:lnTo>
                <a:lnTo>
                  <a:pt x="9756860" y="0"/>
                </a:lnTo>
                <a:lnTo>
                  <a:pt x="9687744" y="0"/>
                </a:lnTo>
                <a:lnTo>
                  <a:pt x="9620588" y="0"/>
                </a:lnTo>
                <a:lnTo>
                  <a:pt x="9598065" y="0"/>
                </a:lnTo>
                <a:lnTo>
                  <a:pt x="9528949" y="0"/>
                </a:lnTo>
                <a:lnTo>
                  <a:pt x="9501541" y="0"/>
                </a:lnTo>
                <a:lnTo>
                  <a:pt x="9479018" y="0"/>
                </a:lnTo>
                <a:lnTo>
                  <a:pt x="9409902" y="0"/>
                </a:lnTo>
                <a:lnTo>
                  <a:pt x="9386822" y="0"/>
                </a:lnTo>
                <a:lnTo>
                  <a:pt x="9342746" y="0"/>
                </a:lnTo>
                <a:lnTo>
                  <a:pt x="9267775" y="0"/>
                </a:lnTo>
                <a:lnTo>
                  <a:pt x="9223699" y="0"/>
                </a:lnTo>
                <a:lnTo>
                  <a:pt x="9200619" y="0"/>
                </a:lnTo>
                <a:lnTo>
                  <a:pt x="9131505" y="0"/>
                </a:lnTo>
                <a:lnTo>
                  <a:pt x="9108980" y="0"/>
                </a:lnTo>
                <a:lnTo>
                  <a:pt x="9081572" y="0"/>
                </a:lnTo>
                <a:lnTo>
                  <a:pt x="9012458" y="0"/>
                </a:lnTo>
                <a:lnTo>
                  <a:pt x="8989933" y="0"/>
                </a:lnTo>
                <a:lnTo>
                  <a:pt x="8922777" y="0"/>
                </a:lnTo>
                <a:lnTo>
                  <a:pt x="8853663" y="0"/>
                </a:lnTo>
                <a:lnTo>
                  <a:pt x="8818010" y="0"/>
                </a:lnTo>
                <a:lnTo>
                  <a:pt x="8803730" y="0"/>
                </a:lnTo>
                <a:lnTo>
                  <a:pt x="8748894" y="0"/>
                </a:lnTo>
                <a:lnTo>
                  <a:pt x="8734616" y="0"/>
                </a:lnTo>
                <a:lnTo>
                  <a:pt x="8718642" y="0"/>
                </a:lnTo>
                <a:lnTo>
                  <a:pt x="8698963" y="0"/>
                </a:lnTo>
                <a:lnTo>
                  <a:pt x="8649528" y="0"/>
                </a:lnTo>
                <a:lnTo>
                  <a:pt x="8629847" y="0"/>
                </a:lnTo>
                <a:lnTo>
                  <a:pt x="8599595" y="0"/>
                </a:lnTo>
                <a:lnTo>
                  <a:pt x="8540168" y="0"/>
                </a:lnTo>
                <a:lnTo>
                  <a:pt x="8530481" y="0"/>
                </a:lnTo>
                <a:lnTo>
                  <a:pt x="8471052" y="0"/>
                </a:lnTo>
                <a:lnTo>
                  <a:pt x="8440800" y="0"/>
                </a:lnTo>
                <a:lnTo>
                  <a:pt x="8421121" y="0"/>
                </a:lnTo>
                <a:lnTo>
                  <a:pt x="8371686" y="0"/>
                </a:lnTo>
                <a:lnTo>
                  <a:pt x="8352005" y="0"/>
                </a:lnTo>
                <a:lnTo>
                  <a:pt x="8336033" y="0"/>
                </a:lnTo>
                <a:lnTo>
                  <a:pt x="8321753" y="0"/>
                </a:lnTo>
                <a:lnTo>
                  <a:pt x="8266917" y="0"/>
                </a:lnTo>
                <a:lnTo>
                  <a:pt x="8252639" y="0"/>
                </a:lnTo>
                <a:lnTo>
                  <a:pt x="8216986" y="0"/>
                </a:lnTo>
                <a:lnTo>
                  <a:pt x="8147870" y="0"/>
                </a:lnTo>
                <a:lnTo>
                  <a:pt x="8058191" y="0"/>
                </a:lnTo>
                <a:lnTo>
                  <a:pt x="7989075" y="0"/>
                </a:lnTo>
                <a:lnTo>
                  <a:pt x="7939144" y="0"/>
                </a:lnTo>
                <a:lnTo>
                  <a:pt x="7870028" y="0"/>
                </a:lnTo>
                <a:lnTo>
                  <a:pt x="7846948" y="0"/>
                </a:lnTo>
                <a:lnTo>
                  <a:pt x="7727901" y="0"/>
                </a:lnTo>
                <a:lnTo>
                  <a:pt x="7569107" y="0"/>
                </a:lnTo>
                <a:lnTo>
                  <a:pt x="7458623" y="0"/>
                </a:lnTo>
                <a:lnTo>
                  <a:pt x="7450060" y="0"/>
                </a:lnTo>
                <a:lnTo>
                  <a:pt x="7339577" y="0"/>
                </a:lnTo>
                <a:lnTo>
                  <a:pt x="7180781" y="0"/>
                </a:lnTo>
                <a:lnTo>
                  <a:pt x="7061735" y="0"/>
                </a:lnTo>
                <a:lnTo>
                  <a:pt x="7038655" y="0"/>
                </a:lnTo>
                <a:lnTo>
                  <a:pt x="6969540" y="0"/>
                </a:lnTo>
                <a:lnTo>
                  <a:pt x="6919608" y="0"/>
                </a:lnTo>
                <a:lnTo>
                  <a:pt x="6850493" y="0"/>
                </a:lnTo>
                <a:lnTo>
                  <a:pt x="6760813" y="0"/>
                </a:lnTo>
                <a:lnTo>
                  <a:pt x="6691698" y="0"/>
                </a:lnTo>
                <a:lnTo>
                  <a:pt x="6656046" y="0"/>
                </a:lnTo>
                <a:lnTo>
                  <a:pt x="6641766" y="0"/>
                </a:lnTo>
                <a:lnTo>
                  <a:pt x="6586930" y="0"/>
                </a:lnTo>
                <a:lnTo>
                  <a:pt x="6572651" y="0"/>
                </a:lnTo>
                <a:lnTo>
                  <a:pt x="6556677" y="0"/>
                </a:lnTo>
                <a:lnTo>
                  <a:pt x="6536999" y="0"/>
                </a:lnTo>
                <a:lnTo>
                  <a:pt x="6487563" y="0"/>
                </a:lnTo>
                <a:lnTo>
                  <a:pt x="6467883" y="0"/>
                </a:lnTo>
                <a:lnTo>
                  <a:pt x="6437631" y="0"/>
                </a:lnTo>
                <a:lnTo>
                  <a:pt x="6378204" y="0"/>
                </a:lnTo>
                <a:lnTo>
                  <a:pt x="6368516" y="0"/>
                </a:lnTo>
                <a:lnTo>
                  <a:pt x="6309088" y="0"/>
                </a:lnTo>
                <a:lnTo>
                  <a:pt x="6278836" y="0"/>
                </a:lnTo>
                <a:lnTo>
                  <a:pt x="6259157" y="0"/>
                </a:lnTo>
                <a:lnTo>
                  <a:pt x="6209721" y="0"/>
                </a:lnTo>
                <a:lnTo>
                  <a:pt x="6190041" y="0"/>
                </a:lnTo>
                <a:lnTo>
                  <a:pt x="6174068" y="0"/>
                </a:lnTo>
                <a:lnTo>
                  <a:pt x="6159789" y="0"/>
                </a:lnTo>
                <a:lnTo>
                  <a:pt x="6104953" y="0"/>
                </a:lnTo>
                <a:lnTo>
                  <a:pt x="6090674" y="0"/>
                </a:lnTo>
                <a:lnTo>
                  <a:pt x="6055022" y="0"/>
                </a:lnTo>
                <a:lnTo>
                  <a:pt x="5997221" y="0"/>
                </a:lnTo>
                <a:lnTo>
                  <a:pt x="5985906" y="0"/>
                </a:lnTo>
                <a:lnTo>
                  <a:pt x="5896226" y="0"/>
                </a:lnTo>
                <a:lnTo>
                  <a:pt x="5878175" y="0"/>
                </a:lnTo>
                <a:lnTo>
                  <a:pt x="5827111" y="0"/>
                </a:lnTo>
                <a:lnTo>
                  <a:pt x="5777180" y="0"/>
                </a:lnTo>
                <a:lnTo>
                  <a:pt x="5719379" y="0"/>
                </a:lnTo>
                <a:lnTo>
                  <a:pt x="5708064" y="0"/>
                </a:lnTo>
                <a:lnTo>
                  <a:pt x="5684984" y="0"/>
                </a:lnTo>
                <a:lnTo>
                  <a:pt x="5600333" y="0"/>
                </a:lnTo>
                <a:lnTo>
                  <a:pt x="5577253" y="0"/>
                </a:lnTo>
                <a:lnTo>
                  <a:pt x="5565937" y="0"/>
                </a:lnTo>
                <a:lnTo>
                  <a:pt x="5508138" y="0"/>
                </a:lnTo>
                <a:lnTo>
                  <a:pt x="5458206" y="0"/>
                </a:lnTo>
                <a:lnTo>
                  <a:pt x="5407142" y="0"/>
                </a:lnTo>
                <a:lnTo>
                  <a:pt x="5389091" y="0"/>
                </a:lnTo>
                <a:lnTo>
                  <a:pt x="5299411" y="0"/>
                </a:lnTo>
                <a:lnTo>
                  <a:pt x="5288095" y="0"/>
                </a:lnTo>
                <a:lnTo>
                  <a:pt x="5230296" y="0"/>
                </a:lnTo>
                <a:lnTo>
                  <a:pt x="5194644" y="0"/>
                </a:lnTo>
                <a:lnTo>
                  <a:pt x="5180364" y="0"/>
                </a:lnTo>
                <a:lnTo>
                  <a:pt x="5125528" y="0"/>
                </a:lnTo>
                <a:lnTo>
                  <a:pt x="5111249" y="0"/>
                </a:lnTo>
                <a:lnTo>
                  <a:pt x="5095275" y="0"/>
                </a:lnTo>
                <a:lnTo>
                  <a:pt x="5075597" y="0"/>
                </a:lnTo>
                <a:lnTo>
                  <a:pt x="5026161" y="0"/>
                </a:lnTo>
                <a:lnTo>
                  <a:pt x="5006481" y="0"/>
                </a:lnTo>
                <a:lnTo>
                  <a:pt x="4976229" y="0"/>
                </a:lnTo>
                <a:lnTo>
                  <a:pt x="4916802" y="0"/>
                </a:lnTo>
                <a:lnTo>
                  <a:pt x="4907114" y="0"/>
                </a:lnTo>
                <a:lnTo>
                  <a:pt x="4847686" y="0"/>
                </a:lnTo>
                <a:lnTo>
                  <a:pt x="4817434" y="0"/>
                </a:lnTo>
                <a:lnTo>
                  <a:pt x="4797755" y="0"/>
                </a:lnTo>
                <a:lnTo>
                  <a:pt x="4748319" y="0"/>
                </a:lnTo>
                <a:lnTo>
                  <a:pt x="4728639" y="0"/>
                </a:lnTo>
                <a:lnTo>
                  <a:pt x="4712666" y="0"/>
                </a:lnTo>
                <a:lnTo>
                  <a:pt x="4698387" y="0"/>
                </a:lnTo>
                <a:lnTo>
                  <a:pt x="4643551" y="0"/>
                </a:lnTo>
                <a:lnTo>
                  <a:pt x="4629272" y="0"/>
                </a:lnTo>
                <a:lnTo>
                  <a:pt x="4607897" y="0"/>
                </a:lnTo>
                <a:lnTo>
                  <a:pt x="4593620" y="0"/>
                </a:lnTo>
                <a:lnTo>
                  <a:pt x="4524504" y="0"/>
                </a:lnTo>
                <a:lnTo>
                  <a:pt x="4488851" y="0"/>
                </a:lnTo>
                <a:lnTo>
                  <a:pt x="4434824" y="0"/>
                </a:lnTo>
                <a:lnTo>
                  <a:pt x="4365709" y="0"/>
                </a:lnTo>
                <a:lnTo>
                  <a:pt x="4330055" y="0"/>
                </a:lnTo>
                <a:lnTo>
                  <a:pt x="4315778" y="0"/>
                </a:lnTo>
                <a:lnTo>
                  <a:pt x="4246662" y="0"/>
                </a:lnTo>
                <a:lnTo>
                  <a:pt x="4223582" y="0"/>
                </a:lnTo>
                <a:lnTo>
                  <a:pt x="4211009" y="0"/>
                </a:lnTo>
                <a:lnTo>
                  <a:pt x="4187929" y="0"/>
                </a:lnTo>
                <a:lnTo>
                  <a:pt x="4118814" y="0"/>
                </a:lnTo>
                <a:lnTo>
                  <a:pt x="4104535" y="0"/>
                </a:lnTo>
                <a:lnTo>
                  <a:pt x="4068882" y="0"/>
                </a:lnTo>
                <a:lnTo>
                  <a:pt x="3999767" y="0"/>
                </a:lnTo>
                <a:lnTo>
                  <a:pt x="3945740" y="0"/>
                </a:lnTo>
                <a:lnTo>
                  <a:pt x="3910087" y="0"/>
                </a:lnTo>
                <a:lnTo>
                  <a:pt x="3840972" y="0"/>
                </a:lnTo>
                <a:lnTo>
                  <a:pt x="3826693" y="0"/>
                </a:lnTo>
                <a:lnTo>
                  <a:pt x="3805320" y="0"/>
                </a:lnTo>
                <a:lnTo>
                  <a:pt x="3791040" y="0"/>
                </a:lnTo>
                <a:lnTo>
                  <a:pt x="3736204" y="0"/>
                </a:lnTo>
                <a:lnTo>
                  <a:pt x="3721925" y="0"/>
                </a:lnTo>
                <a:lnTo>
                  <a:pt x="3705951" y="0"/>
                </a:lnTo>
                <a:lnTo>
                  <a:pt x="3686273" y="0"/>
                </a:lnTo>
                <a:lnTo>
                  <a:pt x="3636837" y="0"/>
                </a:lnTo>
                <a:lnTo>
                  <a:pt x="3617157" y="0"/>
                </a:lnTo>
                <a:lnTo>
                  <a:pt x="3586905" y="0"/>
                </a:lnTo>
                <a:lnTo>
                  <a:pt x="3527477" y="0"/>
                </a:lnTo>
                <a:lnTo>
                  <a:pt x="3517790" y="0"/>
                </a:lnTo>
                <a:lnTo>
                  <a:pt x="3458361" y="0"/>
                </a:lnTo>
                <a:lnTo>
                  <a:pt x="3428109" y="0"/>
                </a:lnTo>
                <a:lnTo>
                  <a:pt x="3408431" y="0"/>
                </a:lnTo>
                <a:lnTo>
                  <a:pt x="3358995" y="0"/>
                </a:lnTo>
                <a:lnTo>
                  <a:pt x="3339315" y="0"/>
                </a:lnTo>
                <a:lnTo>
                  <a:pt x="3323342" y="0"/>
                </a:lnTo>
                <a:lnTo>
                  <a:pt x="3309062" y="0"/>
                </a:lnTo>
                <a:lnTo>
                  <a:pt x="3254226" y="0"/>
                </a:lnTo>
                <a:lnTo>
                  <a:pt x="3239948" y="0"/>
                </a:lnTo>
                <a:lnTo>
                  <a:pt x="3204295" y="0"/>
                </a:lnTo>
                <a:lnTo>
                  <a:pt x="3135180" y="0"/>
                </a:lnTo>
                <a:lnTo>
                  <a:pt x="3045500" y="0"/>
                </a:lnTo>
                <a:lnTo>
                  <a:pt x="2976384" y="0"/>
                </a:lnTo>
                <a:lnTo>
                  <a:pt x="2926453" y="0"/>
                </a:lnTo>
                <a:lnTo>
                  <a:pt x="2857338" y="0"/>
                </a:lnTo>
                <a:lnTo>
                  <a:pt x="2834258" y="0"/>
                </a:lnTo>
                <a:lnTo>
                  <a:pt x="2715211" y="0"/>
                </a:lnTo>
                <a:lnTo>
                  <a:pt x="2556416" y="0"/>
                </a:lnTo>
                <a:lnTo>
                  <a:pt x="2437369" y="0"/>
                </a:lnTo>
                <a:lnTo>
                  <a:pt x="2430886" y="1416"/>
                </a:lnTo>
                <a:lnTo>
                  <a:pt x="2424403" y="0"/>
                </a:lnTo>
                <a:lnTo>
                  <a:pt x="2305356" y="0"/>
                </a:lnTo>
                <a:lnTo>
                  <a:pt x="2146561" y="0"/>
                </a:lnTo>
                <a:lnTo>
                  <a:pt x="2027514" y="0"/>
                </a:lnTo>
                <a:lnTo>
                  <a:pt x="2004434" y="0"/>
                </a:lnTo>
                <a:lnTo>
                  <a:pt x="1935320" y="0"/>
                </a:lnTo>
                <a:lnTo>
                  <a:pt x="1885388" y="0"/>
                </a:lnTo>
                <a:lnTo>
                  <a:pt x="1816273" y="0"/>
                </a:lnTo>
                <a:lnTo>
                  <a:pt x="1726592" y="0"/>
                </a:lnTo>
                <a:lnTo>
                  <a:pt x="1657478" y="0"/>
                </a:lnTo>
                <a:lnTo>
                  <a:pt x="1621825" y="0"/>
                </a:lnTo>
                <a:lnTo>
                  <a:pt x="1607546" y="0"/>
                </a:lnTo>
                <a:lnTo>
                  <a:pt x="1552710" y="0"/>
                </a:lnTo>
                <a:lnTo>
                  <a:pt x="1538431" y="0"/>
                </a:lnTo>
                <a:lnTo>
                  <a:pt x="1522457" y="0"/>
                </a:lnTo>
                <a:lnTo>
                  <a:pt x="1502779" y="0"/>
                </a:lnTo>
                <a:lnTo>
                  <a:pt x="1453343" y="0"/>
                </a:lnTo>
                <a:lnTo>
                  <a:pt x="1433663" y="0"/>
                </a:lnTo>
                <a:lnTo>
                  <a:pt x="1403410" y="0"/>
                </a:lnTo>
                <a:lnTo>
                  <a:pt x="1343983" y="0"/>
                </a:lnTo>
                <a:lnTo>
                  <a:pt x="1334296" y="0"/>
                </a:lnTo>
                <a:lnTo>
                  <a:pt x="1274868" y="0"/>
                </a:lnTo>
                <a:lnTo>
                  <a:pt x="1244615" y="0"/>
                </a:lnTo>
                <a:lnTo>
                  <a:pt x="1224937" y="0"/>
                </a:lnTo>
                <a:lnTo>
                  <a:pt x="1175501" y="0"/>
                </a:lnTo>
                <a:lnTo>
                  <a:pt x="1155821" y="0"/>
                </a:lnTo>
                <a:lnTo>
                  <a:pt x="1139848" y="0"/>
                </a:lnTo>
                <a:lnTo>
                  <a:pt x="1125568" y="0"/>
                </a:lnTo>
                <a:lnTo>
                  <a:pt x="1070732" y="0"/>
                </a:lnTo>
                <a:lnTo>
                  <a:pt x="1056454" y="0"/>
                </a:lnTo>
                <a:lnTo>
                  <a:pt x="1020801" y="0"/>
                </a:lnTo>
                <a:lnTo>
                  <a:pt x="951686" y="0"/>
                </a:lnTo>
                <a:lnTo>
                  <a:pt x="862006" y="0"/>
                </a:lnTo>
                <a:lnTo>
                  <a:pt x="792890" y="0"/>
                </a:lnTo>
                <a:lnTo>
                  <a:pt x="742959" y="0"/>
                </a:lnTo>
                <a:lnTo>
                  <a:pt x="673844" y="0"/>
                </a:lnTo>
                <a:lnTo>
                  <a:pt x="650764" y="0"/>
                </a:lnTo>
                <a:lnTo>
                  <a:pt x="531717" y="0"/>
                </a:lnTo>
                <a:lnTo>
                  <a:pt x="372922" y="0"/>
                </a:lnTo>
                <a:lnTo>
                  <a:pt x="253875" y="0"/>
                </a:lnTo>
                <a:cubicBezTo>
                  <a:pt x="227953" y="0"/>
                  <a:pt x="203276" y="11297"/>
                  <a:pt x="186582" y="30939"/>
                </a:cubicBezTo>
                <a:lnTo>
                  <a:pt x="20375" y="226344"/>
                </a:lnTo>
                <a:lnTo>
                  <a:pt x="0" y="281416"/>
                </a:lnTo>
                <a:lnTo>
                  <a:pt x="0" y="281418"/>
                </a:lnTo>
                <a:lnTo>
                  <a:pt x="20375" y="336565"/>
                </a:lnTo>
                <a:lnTo>
                  <a:pt x="186582" y="532073"/>
                </a:lnTo>
                <a:cubicBezTo>
                  <a:pt x="203276" y="551716"/>
                  <a:pt x="227850" y="563012"/>
                  <a:pt x="253875" y="563012"/>
                </a:cubicBezTo>
                <a:lnTo>
                  <a:pt x="372922" y="563012"/>
                </a:lnTo>
                <a:lnTo>
                  <a:pt x="531717" y="563012"/>
                </a:lnTo>
                <a:lnTo>
                  <a:pt x="650764" y="563012"/>
                </a:lnTo>
                <a:lnTo>
                  <a:pt x="673844" y="563012"/>
                </a:lnTo>
                <a:lnTo>
                  <a:pt x="742959" y="563012"/>
                </a:lnTo>
                <a:lnTo>
                  <a:pt x="792890" y="563012"/>
                </a:lnTo>
                <a:lnTo>
                  <a:pt x="862006" y="563012"/>
                </a:lnTo>
                <a:lnTo>
                  <a:pt x="951686" y="563012"/>
                </a:lnTo>
                <a:lnTo>
                  <a:pt x="1020801" y="563012"/>
                </a:lnTo>
                <a:lnTo>
                  <a:pt x="1056454" y="563012"/>
                </a:lnTo>
                <a:lnTo>
                  <a:pt x="1070732" y="563012"/>
                </a:lnTo>
                <a:lnTo>
                  <a:pt x="1125568" y="563012"/>
                </a:lnTo>
                <a:lnTo>
                  <a:pt x="1139848" y="563012"/>
                </a:lnTo>
                <a:lnTo>
                  <a:pt x="1155821" y="563012"/>
                </a:lnTo>
                <a:lnTo>
                  <a:pt x="1175501" y="563012"/>
                </a:lnTo>
                <a:lnTo>
                  <a:pt x="1224937" y="563012"/>
                </a:lnTo>
                <a:lnTo>
                  <a:pt x="1244615" y="563012"/>
                </a:lnTo>
                <a:lnTo>
                  <a:pt x="1274868" y="563012"/>
                </a:lnTo>
                <a:lnTo>
                  <a:pt x="1334296" y="563012"/>
                </a:lnTo>
                <a:lnTo>
                  <a:pt x="1343983" y="563012"/>
                </a:lnTo>
                <a:lnTo>
                  <a:pt x="1403410" y="563012"/>
                </a:lnTo>
                <a:lnTo>
                  <a:pt x="1433663" y="563012"/>
                </a:lnTo>
                <a:lnTo>
                  <a:pt x="1453343" y="563012"/>
                </a:lnTo>
                <a:lnTo>
                  <a:pt x="1502779" y="563012"/>
                </a:lnTo>
                <a:lnTo>
                  <a:pt x="1522457" y="563012"/>
                </a:lnTo>
                <a:lnTo>
                  <a:pt x="1538431" y="563012"/>
                </a:lnTo>
                <a:lnTo>
                  <a:pt x="1552710" y="563012"/>
                </a:lnTo>
                <a:lnTo>
                  <a:pt x="1607546" y="563012"/>
                </a:lnTo>
                <a:lnTo>
                  <a:pt x="1621825" y="563012"/>
                </a:lnTo>
                <a:lnTo>
                  <a:pt x="1657478" y="563012"/>
                </a:lnTo>
                <a:lnTo>
                  <a:pt x="1726592" y="563012"/>
                </a:lnTo>
                <a:lnTo>
                  <a:pt x="1816273" y="563012"/>
                </a:lnTo>
                <a:lnTo>
                  <a:pt x="1885388" y="563012"/>
                </a:lnTo>
                <a:lnTo>
                  <a:pt x="1935320" y="563012"/>
                </a:lnTo>
                <a:lnTo>
                  <a:pt x="2004434" y="563012"/>
                </a:lnTo>
                <a:lnTo>
                  <a:pt x="2027514" y="563012"/>
                </a:lnTo>
                <a:lnTo>
                  <a:pt x="2146561" y="563012"/>
                </a:lnTo>
                <a:lnTo>
                  <a:pt x="2305356" y="563012"/>
                </a:lnTo>
                <a:lnTo>
                  <a:pt x="2424403" y="563012"/>
                </a:lnTo>
                <a:lnTo>
                  <a:pt x="2430886" y="561598"/>
                </a:lnTo>
                <a:lnTo>
                  <a:pt x="2437369" y="563012"/>
                </a:lnTo>
                <a:lnTo>
                  <a:pt x="2556416" y="563012"/>
                </a:lnTo>
                <a:lnTo>
                  <a:pt x="2715211" y="563012"/>
                </a:lnTo>
                <a:lnTo>
                  <a:pt x="2834258" y="563012"/>
                </a:lnTo>
                <a:lnTo>
                  <a:pt x="2857338" y="563012"/>
                </a:lnTo>
                <a:lnTo>
                  <a:pt x="2926453" y="563012"/>
                </a:lnTo>
                <a:lnTo>
                  <a:pt x="2976384" y="563012"/>
                </a:lnTo>
                <a:lnTo>
                  <a:pt x="3045500" y="563012"/>
                </a:lnTo>
                <a:lnTo>
                  <a:pt x="3135180" y="563012"/>
                </a:lnTo>
                <a:lnTo>
                  <a:pt x="3204295" y="563012"/>
                </a:lnTo>
                <a:lnTo>
                  <a:pt x="3239948" y="563012"/>
                </a:lnTo>
                <a:lnTo>
                  <a:pt x="3254226" y="563012"/>
                </a:lnTo>
                <a:lnTo>
                  <a:pt x="3309062" y="563012"/>
                </a:lnTo>
                <a:lnTo>
                  <a:pt x="3323342" y="563012"/>
                </a:lnTo>
                <a:lnTo>
                  <a:pt x="3339315" y="563012"/>
                </a:lnTo>
                <a:lnTo>
                  <a:pt x="3358995" y="563012"/>
                </a:lnTo>
                <a:lnTo>
                  <a:pt x="3408431" y="563012"/>
                </a:lnTo>
                <a:lnTo>
                  <a:pt x="3428109" y="563012"/>
                </a:lnTo>
                <a:lnTo>
                  <a:pt x="3458361" y="563012"/>
                </a:lnTo>
                <a:lnTo>
                  <a:pt x="3517790" y="563012"/>
                </a:lnTo>
                <a:lnTo>
                  <a:pt x="3527477" y="563012"/>
                </a:lnTo>
                <a:lnTo>
                  <a:pt x="3586905" y="563012"/>
                </a:lnTo>
                <a:lnTo>
                  <a:pt x="3617157" y="563012"/>
                </a:lnTo>
                <a:lnTo>
                  <a:pt x="3636837" y="563012"/>
                </a:lnTo>
                <a:lnTo>
                  <a:pt x="3686273" y="563012"/>
                </a:lnTo>
                <a:lnTo>
                  <a:pt x="3705951" y="563012"/>
                </a:lnTo>
                <a:lnTo>
                  <a:pt x="3721925" y="563012"/>
                </a:lnTo>
                <a:lnTo>
                  <a:pt x="3736204" y="563012"/>
                </a:lnTo>
                <a:lnTo>
                  <a:pt x="3791040" y="563012"/>
                </a:lnTo>
                <a:lnTo>
                  <a:pt x="3805320" y="563012"/>
                </a:lnTo>
                <a:lnTo>
                  <a:pt x="3826693" y="563012"/>
                </a:lnTo>
                <a:lnTo>
                  <a:pt x="3840972" y="563012"/>
                </a:lnTo>
                <a:lnTo>
                  <a:pt x="3910087" y="563012"/>
                </a:lnTo>
                <a:lnTo>
                  <a:pt x="3945740" y="563012"/>
                </a:lnTo>
                <a:lnTo>
                  <a:pt x="3999767" y="563012"/>
                </a:lnTo>
                <a:lnTo>
                  <a:pt x="4068882" y="563012"/>
                </a:lnTo>
                <a:lnTo>
                  <a:pt x="4104535" y="563012"/>
                </a:lnTo>
                <a:lnTo>
                  <a:pt x="4118814" y="563012"/>
                </a:lnTo>
                <a:lnTo>
                  <a:pt x="4187929" y="563012"/>
                </a:lnTo>
                <a:lnTo>
                  <a:pt x="4211009" y="563012"/>
                </a:lnTo>
                <a:lnTo>
                  <a:pt x="4223582" y="563012"/>
                </a:lnTo>
                <a:lnTo>
                  <a:pt x="4246662" y="563012"/>
                </a:lnTo>
                <a:lnTo>
                  <a:pt x="4315778" y="563012"/>
                </a:lnTo>
                <a:lnTo>
                  <a:pt x="4330055" y="563012"/>
                </a:lnTo>
                <a:lnTo>
                  <a:pt x="4365709" y="563012"/>
                </a:lnTo>
                <a:lnTo>
                  <a:pt x="4434824" y="563012"/>
                </a:lnTo>
                <a:lnTo>
                  <a:pt x="4488851" y="563012"/>
                </a:lnTo>
                <a:lnTo>
                  <a:pt x="4524504" y="563012"/>
                </a:lnTo>
                <a:lnTo>
                  <a:pt x="4593620" y="563012"/>
                </a:lnTo>
                <a:lnTo>
                  <a:pt x="4607897" y="563012"/>
                </a:lnTo>
                <a:lnTo>
                  <a:pt x="4629272" y="563012"/>
                </a:lnTo>
                <a:lnTo>
                  <a:pt x="4643551" y="563012"/>
                </a:lnTo>
                <a:lnTo>
                  <a:pt x="4698387" y="563012"/>
                </a:lnTo>
                <a:lnTo>
                  <a:pt x="4712666" y="563012"/>
                </a:lnTo>
                <a:lnTo>
                  <a:pt x="4728639" y="563012"/>
                </a:lnTo>
                <a:lnTo>
                  <a:pt x="4748319" y="563012"/>
                </a:lnTo>
                <a:lnTo>
                  <a:pt x="4797755" y="563012"/>
                </a:lnTo>
                <a:lnTo>
                  <a:pt x="4817434" y="563012"/>
                </a:lnTo>
                <a:lnTo>
                  <a:pt x="4847686" y="563012"/>
                </a:lnTo>
                <a:lnTo>
                  <a:pt x="4907114" y="563012"/>
                </a:lnTo>
                <a:lnTo>
                  <a:pt x="4916802" y="563012"/>
                </a:lnTo>
                <a:lnTo>
                  <a:pt x="4976229" y="563012"/>
                </a:lnTo>
                <a:lnTo>
                  <a:pt x="5006481" y="563012"/>
                </a:lnTo>
                <a:lnTo>
                  <a:pt x="5026161" y="563012"/>
                </a:lnTo>
                <a:lnTo>
                  <a:pt x="5075597" y="563012"/>
                </a:lnTo>
                <a:lnTo>
                  <a:pt x="5095275" y="563012"/>
                </a:lnTo>
                <a:lnTo>
                  <a:pt x="5111249" y="563012"/>
                </a:lnTo>
                <a:lnTo>
                  <a:pt x="5125528" y="563012"/>
                </a:lnTo>
                <a:lnTo>
                  <a:pt x="5180364" y="563012"/>
                </a:lnTo>
                <a:lnTo>
                  <a:pt x="5194644" y="563012"/>
                </a:lnTo>
                <a:lnTo>
                  <a:pt x="5230296" y="563012"/>
                </a:lnTo>
                <a:lnTo>
                  <a:pt x="5288095" y="563012"/>
                </a:lnTo>
                <a:lnTo>
                  <a:pt x="5299411" y="563012"/>
                </a:lnTo>
                <a:lnTo>
                  <a:pt x="5389091" y="563012"/>
                </a:lnTo>
                <a:lnTo>
                  <a:pt x="5407142" y="563012"/>
                </a:lnTo>
                <a:lnTo>
                  <a:pt x="5458206" y="563012"/>
                </a:lnTo>
                <a:lnTo>
                  <a:pt x="5508138" y="563012"/>
                </a:lnTo>
                <a:lnTo>
                  <a:pt x="5565937" y="563012"/>
                </a:lnTo>
                <a:lnTo>
                  <a:pt x="5577253" y="563012"/>
                </a:lnTo>
                <a:lnTo>
                  <a:pt x="5600333" y="563012"/>
                </a:lnTo>
                <a:lnTo>
                  <a:pt x="5684984" y="563012"/>
                </a:lnTo>
                <a:lnTo>
                  <a:pt x="5708064" y="563012"/>
                </a:lnTo>
                <a:lnTo>
                  <a:pt x="5719379" y="563012"/>
                </a:lnTo>
                <a:lnTo>
                  <a:pt x="5777180" y="563012"/>
                </a:lnTo>
                <a:lnTo>
                  <a:pt x="5827111" y="563012"/>
                </a:lnTo>
                <a:lnTo>
                  <a:pt x="5878175" y="563012"/>
                </a:lnTo>
                <a:lnTo>
                  <a:pt x="5896226" y="563012"/>
                </a:lnTo>
                <a:lnTo>
                  <a:pt x="5985906" y="563012"/>
                </a:lnTo>
                <a:lnTo>
                  <a:pt x="5997221" y="563012"/>
                </a:lnTo>
                <a:lnTo>
                  <a:pt x="6055022" y="563012"/>
                </a:lnTo>
                <a:lnTo>
                  <a:pt x="6090674" y="563012"/>
                </a:lnTo>
                <a:lnTo>
                  <a:pt x="6104953" y="563012"/>
                </a:lnTo>
                <a:lnTo>
                  <a:pt x="6159789" y="563012"/>
                </a:lnTo>
                <a:lnTo>
                  <a:pt x="6174068" y="563012"/>
                </a:lnTo>
                <a:lnTo>
                  <a:pt x="6190041" y="563012"/>
                </a:lnTo>
                <a:lnTo>
                  <a:pt x="6209721" y="563012"/>
                </a:lnTo>
                <a:lnTo>
                  <a:pt x="6259157" y="563012"/>
                </a:lnTo>
                <a:lnTo>
                  <a:pt x="6278836" y="563012"/>
                </a:lnTo>
                <a:lnTo>
                  <a:pt x="6309088" y="563012"/>
                </a:lnTo>
                <a:lnTo>
                  <a:pt x="6368516" y="563012"/>
                </a:lnTo>
                <a:lnTo>
                  <a:pt x="6378204" y="563012"/>
                </a:lnTo>
                <a:lnTo>
                  <a:pt x="6437631" y="563012"/>
                </a:lnTo>
                <a:lnTo>
                  <a:pt x="6467883" y="563012"/>
                </a:lnTo>
                <a:lnTo>
                  <a:pt x="6487563" y="563012"/>
                </a:lnTo>
                <a:lnTo>
                  <a:pt x="6536999" y="563012"/>
                </a:lnTo>
                <a:lnTo>
                  <a:pt x="6556677" y="563012"/>
                </a:lnTo>
                <a:lnTo>
                  <a:pt x="6572651" y="563012"/>
                </a:lnTo>
                <a:lnTo>
                  <a:pt x="6586930" y="563012"/>
                </a:lnTo>
                <a:lnTo>
                  <a:pt x="6641766" y="563012"/>
                </a:lnTo>
                <a:lnTo>
                  <a:pt x="6656046" y="563012"/>
                </a:lnTo>
                <a:lnTo>
                  <a:pt x="6691698" y="563012"/>
                </a:lnTo>
                <a:lnTo>
                  <a:pt x="6760813" y="563012"/>
                </a:lnTo>
                <a:lnTo>
                  <a:pt x="6850493" y="563012"/>
                </a:lnTo>
                <a:lnTo>
                  <a:pt x="6919608" y="563012"/>
                </a:lnTo>
                <a:lnTo>
                  <a:pt x="6969540" y="563012"/>
                </a:lnTo>
                <a:lnTo>
                  <a:pt x="7038655" y="563012"/>
                </a:lnTo>
                <a:lnTo>
                  <a:pt x="7061735" y="563012"/>
                </a:lnTo>
                <a:lnTo>
                  <a:pt x="7180781" y="563012"/>
                </a:lnTo>
                <a:lnTo>
                  <a:pt x="7339577" y="563012"/>
                </a:lnTo>
                <a:lnTo>
                  <a:pt x="7450060" y="563012"/>
                </a:lnTo>
                <a:lnTo>
                  <a:pt x="7458623" y="563012"/>
                </a:lnTo>
                <a:lnTo>
                  <a:pt x="7569107" y="563012"/>
                </a:lnTo>
                <a:lnTo>
                  <a:pt x="7727901" y="563012"/>
                </a:lnTo>
                <a:lnTo>
                  <a:pt x="7846948" y="563012"/>
                </a:lnTo>
                <a:lnTo>
                  <a:pt x="7870028" y="563012"/>
                </a:lnTo>
                <a:lnTo>
                  <a:pt x="7939144" y="563012"/>
                </a:lnTo>
                <a:lnTo>
                  <a:pt x="7989075" y="563012"/>
                </a:lnTo>
                <a:lnTo>
                  <a:pt x="8058191" y="563012"/>
                </a:lnTo>
                <a:lnTo>
                  <a:pt x="8147870" y="563012"/>
                </a:lnTo>
                <a:lnTo>
                  <a:pt x="8216986" y="563012"/>
                </a:lnTo>
                <a:lnTo>
                  <a:pt x="8252639" y="563012"/>
                </a:lnTo>
                <a:lnTo>
                  <a:pt x="8266917" y="563012"/>
                </a:lnTo>
                <a:lnTo>
                  <a:pt x="8321753" y="563012"/>
                </a:lnTo>
                <a:lnTo>
                  <a:pt x="8336033" y="563012"/>
                </a:lnTo>
                <a:lnTo>
                  <a:pt x="8352005" y="563012"/>
                </a:lnTo>
                <a:lnTo>
                  <a:pt x="8371686" y="563012"/>
                </a:lnTo>
                <a:lnTo>
                  <a:pt x="8421121" y="563012"/>
                </a:lnTo>
                <a:lnTo>
                  <a:pt x="8440800" y="563012"/>
                </a:lnTo>
                <a:lnTo>
                  <a:pt x="8471052" y="563012"/>
                </a:lnTo>
                <a:lnTo>
                  <a:pt x="8530481" y="563012"/>
                </a:lnTo>
                <a:lnTo>
                  <a:pt x="8540168" y="563012"/>
                </a:lnTo>
                <a:lnTo>
                  <a:pt x="8599595" y="563012"/>
                </a:lnTo>
                <a:lnTo>
                  <a:pt x="8629847" y="563012"/>
                </a:lnTo>
                <a:lnTo>
                  <a:pt x="8649528" y="563012"/>
                </a:lnTo>
                <a:lnTo>
                  <a:pt x="8698963" y="563012"/>
                </a:lnTo>
                <a:lnTo>
                  <a:pt x="8718642" y="563012"/>
                </a:lnTo>
                <a:lnTo>
                  <a:pt x="8734616" y="563012"/>
                </a:lnTo>
                <a:lnTo>
                  <a:pt x="8748894" y="563012"/>
                </a:lnTo>
                <a:lnTo>
                  <a:pt x="8803730" y="563012"/>
                </a:lnTo>
                <a:lnTo>
                  <a:pt x="8818010" y="563012"/>
                </a:lnTo>
                <a:lnTo>
                  <a:pt x="8853663" y="563012"/>
                </a:lnTo>
                <a:lnTo>
                  <a:pt x="8922777" y="563012"/>
                </a:lnTo>
                <a:lnTo>
                  <a:pt x="8989933" y="563012"/>
                </a:lnTo>
                <a:lnTo>
                  <a:pt x="9012458" y="563012"/>
                </a:lnTo>
                <a:lnTo>
                  <a:pt x="9081572" y="563012"/>
                </a:lnTo>
                <a:lnTo>
                  <a:pt x="9108980" y="563012"/>
                </a:lnTo>
                <a:lnTo>
                  <a:pt x="9131505" y="563012"/>
                </a:lnTo>
                <a:lnTo>
                  <a:pt x="9200619" y="563012"/>
                </a:lnTo>
                <a:lnTo>
                  <a:pt x="9223699" y="563012"/>
                </a:lnTo>
                <a:lnTo>
                  <a:pt x="9267775" y="563012"/>
                </a:lnTo>
                <a:lnTo>
                  <a:pt x="9342746" y="563012"/>
                </a:lnTo>
                <a:lnTo>
                  <a:pt x="9386822" y="563012"/>
                </a:lnTo>
                <a:lnTo>
                  <a:pt x="9409902" y="563012"/>
                </a:lnTo>
                <a:lnTo>
                  <a:pt x="9479018" y="563012"/>
                </a:lnTo>
                <a:lnTo>
                  <a:pt x="9501541" y="563012"/>
                </a:lnTo>
                <a:lnTo>
                  <a:pt x="9528949" y="563012"/>
                </a:lnTo>
                <a:lnTo>
                  <a:pt x="9598065" y="563012"/>
                </a:lnTo>
                <a:lnTo>
                  <a:pt x="9620588" y="563012"/>
                </a:lnTo>
                <a:lnTo>
                  <a:pt x="9687744" y="563012"/>
                </a:lnTo>
                <a:lnTo>
                  <a:pt x="9756860" y="563012"/>
                </a:lnTo>
                <a:lnTo>
                  <a:pt x="9792512" y="563012"/>
                </a:lnTo>
                <a:lnTo>
                  <a:pt x="9806791" y="563012"/>
                </a:lnTo>
                <a:lnTo>
                  <a:pt x="9861627" y="563012"/>
                </a:lnTo>
                <a:lnTo>
                  <a:pt x="9875907" y="563012"/>
                </a:lnTo>
                <a:lnTo>
                  <a:pt x="9891879" y="563012"/>
                </a:lnTo>
                <a:lnTo>
                  <a:pt x="9911559" y="563012"/>
                </a:lnTo>
                <a:lnTo>
                  <a:pt x="9960995" y="563012"/>
                </a:lnTo>
                <a:lnTo>
                  <a:pt x="9980674" y="563012"/>
                </a:lnTo>
                <a:lnTo>
                  <a:pt x="10010926" y="563012"/>
                </a:lnTo>
                <a:lnTo>
                  <a:pt x="10070354" y="563012"/>
                </a:lnTo>
                <a:lnTo>
                  <a:pt x="10080042" y="563012"/>
                </a:lnTo>
                <a:lnTo>
                  <a:pt x="10139469" y="563012"/>
                </a:lnTo>
                <a:lnTo>
                  <a:pt x="10169721" y="563012"/>
                </a:lnTo>
                <a:lnTo>
                  <a:pt x="10189401" y="563012"/>
                </a:lnTo>
                <a:lnTo>
                  <a:pt x="10238837" y="563012"/>
                </a:lnTo>
                <a:lnTo>
                  <a:pt x="10258516" y="563012"/>
                </a:lnTo>
                <a:lnTo>
                  <a:pt x="10274490" y="563012"/>
                </a:lnTo>
                <a:lnTo>
                  <a:pt x="10288768" y="563012"/>
                </a:lnTo>
                <a:lnTo>
                  <a:pt x="10343604" y="563012"/>
                </a:lnTo>
                <a:lnTo>
                  <a:pt x="10357884" y="563012"/>
                </a:lnTo>
                <a:lnTo>
                  <a:pt x="10393536" y="563012"/>
                </a:lnTo>
                <a:lnTo>
                  <a:pt x="10462651" y="563012"/>
                </a:lnTo>
                <a:lnTo>
                  <a:pt x="10552332" y="563012"/>
                </a:lnTo>
                <a:lnTo>
                  <a:pt x="10621446" y="563012"/>
                </a:lnTo>
                <a:lnTo>
                  <a:pt x="10671378" y="563012"/>
                </a:lnTo>
                <a:lnTo>
                  <a:pt x="10740493" y="563012"/>
                </a:lnTo>
                <a:lnTo>
                  <a:pt x="10763573" y="563012"/>
                </a:lnTo>
                <a:lnTo>
                  <a:pt x="10882620" y="563012"/>
                </a:lnTo>
                <a:lnTo>
                  <a:pt x="11041415" y="563012"/>
                </a:lnTo>
                <a:lnTo>
                  <a:pt x="11160462" y="563012"/>
                </a:lnTo>
                <a:cubicBezTo>
                  <a:pt x="11186486" y="563012"/>
                  <a:pt x="11211061" y="551716"/>
                  <a:pt x="11227754" y="532073"/>
                </a:cubicBezTo>
                <a:lnTo>
                  <a:pt x="11393962" y="336565"/>
                </a:lnTo>
                <a:lnTo>
                  <a:pt x="11414337" y="281418"/>
                </a:lnTo>
                <a:lnTo>
                  <a:pt x="11414337" y="281416"/>
                </a:lnTo>
                <a:lnTo>
                  <a:pt x="11393962" y="226344"/>
                </a:lnTo>
                <a:lnTo>
                  <a:pt x="11227754" y="30939"/>
                </a:lnTo>
                <a:cubicBezTo>
                  <a:pt x="11211061" y="11297"/>
                  <a:pt x="11186383" y="0"/>
                  <a:pt x="11160462" y="0"/>
                </a:cubicBezTo>
                <a:close/>
              </a:path>
            </a:pathLst>
          </a:custGeom>
          <a:solidFill>
            <a:srgbClr val="EFF7FE"/>
          </a:solidFill>
          <a:ln w="28575">
            <a:solidFill>
              <a:srgbClr val="0971CA"/>
            </a:solidFill>
          </a:ln>
          <a:effectLst>
            <a:outerShdw blurRad="635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lvl="0" algn="ctr">
              <a:lnSpc>
                <a:spcPct val="110000"/>
              </a:lnSpc>
              <a:buClr>
                <a:srgbClr val="F7A200"/>
              </a:buClr>
              <a:defRPr/>
            </a:pPr>
            <a:r>
              <a:rPr lang="zh-CN" altLang="en-US" sz="1600" b="1">
                <a:gradFill>
                  <a:gsLst>
                    <a:gs pos="85000">
                      <a:schemeClr val="tx1"/>
                    </a:gs>
                    <a:gs pos="99000">
                      <a:schemeClr val="tx1"/>
                    </a:gs>
                  </a:gsLst>
                  <a:lin ang="0" scaled="0"/>
                </a:gradFill>
                <a:latin typeface="+mn-ea"/>
              </a:rPr>
              <a:t>盐酸西替利嗪滴眼液</a:t>
            </a:r>
            <a:r>
              <a:rPr lang="zh-CN" altLang="en-US" sz="1600" b="1">
                <a:solidFill>
                  <a:schemeClr val="tx1"/>
                </a:solidFill>
                <a:latin typeface="+mn-ea"/>
              </a:rPr>
              <a:t>纳米</a:t>
            </a:r>
            <a:r>
              <a:rPr lang="zh-CN" altLang="en-US" sz="1600" b="1">
                <a:solidFill>
                  <a:srgbClr val="0971CA"/>
                </a:solidFill>
                <a:latin typeface="+mn-ea"/>
              </a:rPr>
              <a:t>胶束（专利</a:t>
            </a:r>
            <a:r>
              <a:rPr lang="en-US" altLang="zh-CN" sz="1600" b="1">
                <a:solidFill>
                  <a:srgbClr val="0971CA"/>
                </a:solidFill>
                <a:latin typeface="+mn-ea"/>
              </a:rPr>
              <a:t>US9254286B2</a:t>
            </a:r>
            <a:r>
              <a:rPr lang="zh-CN" altLang="en-US" sz="1600" b="1">
                <a:solidFill>
                  <a:srgbClr val="0971CA"/>
                </a:solidFill>
                <a:latin typeface="+mn-ea"/>
              </a:rPr>
              <a:t>）</a:t>
            </a:r>
            <a:r>
              <a:rPr lang="en-US" altLang="zh-CN" sz="1600" b="1">
                <a:solidFill>
                  <a:srgbClr val="0971CA"/>
                </a:solidFill>
                <a:latin typeface="+mn-ea"/>
              </a:rPr>
              <a:t>= </a:t>
            </a:r>
            <a:r>
              <a:rPr lang="zh-CN" altLang="en-US" sz="1600" b="1">
                <a:solidFill>
                  <a:srgbClr val="0971CA"/>
                </a:solidFill>
                <a:latin typeface="+mn-ea"/>
              </a:rPr>
              <a:t>纳米级“药物运输车”：</a:t>
            </a:r>
            <a:endParaRPr lang="zh-CN" altLang="en-US" sz="1600" b="1">
              <a:solidFill>
                <a:srgbClr val="E1007F"/>
              </a:solidFill>
              <a:latin typeface="+mn-ea"/>
            </a:endParaRPr>
          </a:p>
          <a:p>
            <a:pPr lvl="0" algn="ctr">
              <a:lnSpc>
                <a:spcPct val="110000"/>
              </a:lnSpc>
              <a:buClr>
                <a:srgbClr val="F7A200"/>
              </a:buClr>
              <a:defRPr/>
            </a:pPr>
            <a:r>
              <a:rPr lang="zh-CN" altLang="en-US" sz="1600" b="1">
                <a:solidFill>
                  <a:schemeClr val="tx1"/>
                </a:solidFill>
                <a:latin typeface="+mn-ea"/>
              </a:rPr>
              <a:t>缓慢释放让药效久，保湿低刺激让幼儿</a:t>
            </a:r>
            <a:r>
              <a:rPr lang="en-US" altLang="zh-CN" sz="1600" b="1">
                <a:solidFill>
                  <a:schemeClr val="tx1"/>
                </a:solidFill>
                <a:latin typeface="+mn-ea"/>
              </a:rPr>
              <a:t>/</a:t>
            </a:r>
            <a:r>
              <a:rPr lang="zh-CN" altLang="en-US" sz="1600" b="1">
                <a:solidFill>
                  <a:schemeClr val="tx1"/>
                </a:solidFill>
                <a:latin typeface="+mn-ea"/>
              </a:rPr>
              <a:t>干眼患者用得安全舒适</a:t>
            </a:r>
            <a:endParaRPr lang="zh-CN" altLang="en-US" sz="1600" b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1" name="文本框 180"/>
          <p:cNvSpPr txBox="1"/>
          <p:nvPr>
            <p:custDataLst>
              <p:tags r:id="rId9"/>
            </p:custDataLst>
          </p:nvPr>
        </p:nvSpPr>
        <p:spPr>
          <a:xfrm>
            <a:off x="456066" y="4190164"/>
            <a:ext cx="1660622" cy="1427827"/>
          </a:xfrm>
          <a:prstGeom prst="roundRect">
            <a:avLst>
              <a:gd name="adj" fmla="val 1944"/>
            </a:avLst>
          </a:prstGeom>
          <a:noFill/>
          <a:ln w="12700">
            <a:noFill/>
          </a:ln>
        </p:spPr>
        <p:txBody>
          <a:bodyPr wrap="square">
            <a:noAutofit/>
          </a:bodyPr>
          <a:lstStyle/>
          <a:p>
            <a:pPr indent="0">
              <a:lnSpc>
                <a:spcPct val="140000"/>
              </a:lnSpc>
              <a:buFont typeface="Wingdings" panose="05000000000000000000" charset="0"/>
              <a:buNone/>
            </a:pPr>
            <a:r>
              <a:rPr lang="zh-CN" altLang="en-US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口服西替利嗪多年临床应用，本品为眼科外用制剂，</a:t>
            </a:r>
            <a:r>
              <a:rPr lang="zh-CN" altLang="en-US" sz="1100" b="1">
                <a:solidFill>
                  <a:srgbClr val="0971CA"/>
                </a:solidFill>
                <a:latin typeface="+mn-ea"/>
              </a:rPr>
              <a:t>是美国</a:t>
            </a:r>
            <a:r>
              <a:rPr lang="en-US" altLang="zh-CN" sz="1100" b="1">
                <a:solidFill>
                  <a:srgbClr val="0971CA"/>
                </a:solidFill>
                <a:latin typeface="+mn-ea"/>
              </a:rPr>
              <a:t>FDA</a:t>
            </a:r>
            <a:r>
              <a:rPr lang="zh-CN" altLang="en-US" sz="1100" b="1">
                <a:solidFill>
                  <a:srgbClr val="0971CA"/>
                </a:solidFill>
                <a:latin typeface="+mn-ea"/>
              </a:rPr>
              <a:t>时隔10年全新分子抗过敏滴眼液</a:t>
            </a:r>
            <a:r>
              <a:rPr lang="en-US" altLang="zh-CN" sz="1200" b="1" baseline="30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</a:rPr>
              <a:t> 1</a:t>
            </a:r>
            <a:endParaRPr lang="en-US" altLang="zh-CN" sz="1100" b="1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182" name="文本框 181"/>
          <p:cNvSpPr txBox="1"/>
          <p:nvPr>
            <p:custDataLst>
              <p:tags r:id="rId10"/>
            </p:custDataLst>
          </p:nvPr>
        </p:nvSpPr>
        <p:spPr>
          <a:xfrm>
            <a:off x="2195374" y="4190164"/>
            <a:ext cx="1660622" cy="1427827"/>
          </a:xfrm>
          <a:prstGeom prst="roundRect">
            <a:avLst>
              <a:gd name="adj" fmla="val 1944"/>
            </a:avLst>
          </a:prstGeom>
          <a:noFill/>
          <a:ln w="12700">
            <a:noFill/>
          </a:ln>
        </p:spPr>
        <p:txBody>
          <a:bodyPr wrap="square">
            <a:noAutofit/>
          </a:bodyPr>
          <a:lstStyle/>
          <a:p>
            <a:pPr indent="0">
              <a:lnSpc>
                <a:spcPct val="140000"/>
              </a:lnSpc>
              <a:buFont typeface="Wingdings" panose="05000000000000000000" charset="0"/>
              <a:buNone/>
            </a:pPr>
            <a:r>
              <a:rPr lang="en-US" altLang="zh-CN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VS.</a:t>
            </a:r>
            <a:r>
              <a:rPr lang="zh-CN" altLang="en-US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依美斯汀：仅短效 </a:t>
            </a:r>
            <a:r>
              <a:rPr lang="en-US" altLang="zh-CN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H</a:t>
            </a:r>
            <a:r>
              <a:rPr lang="en-US" altLang="zh-CN" sz="1100" b="1" baseline="-25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1 </a:t>
            </a:r>
            <a:r>
              <a:rPr lang="zh-CN" altLang="en-US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拮抗，无肥大细胞稳定；</a:t>
            </a:r>
            <a:endParaRPr lang="zh-CN" altLang="en-US" sz="1100" b="1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  <a:p>
            <a:pPr>
              <a:lnSpc>
                <a:spcPct val="140000"/>
              </a:lnSpc>
            </a:pPr>
            <a:r>
              <a:rPr lang="en-US" altLang="zh-CN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VS.</a:t>
            </a:r>
            <a:r>
              <a:rPr lang="zh-CN" altLang="en-US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奥洛他定：双效但部分</a:t>
            </a:r>
            <a:r>
              <a:rPr lang="en-US" altLang="zh-CN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M</a:t>
            </a:r>
            <a:r>
              <a:rPr lang="zh-CN" altLang="en-US" sz="1100" b="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受体抑制，干眼风险偏高</a:t>
            </a:r>
            <a:endParaRPr lang="zh-CN" altLang="en-US" sz="1100" b="1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</a:endParaRPr>
          </a:p>
        </p:txBody>
      </p:sp>
      <p:sp>
        <p:nvSpPr>
          <p:cNvPr id="183" name="文本框 182"/>
          <p:cNvSpPr txBox="1"/>
          <p:nvPr>
            <p:custDataLst>
              <p:tags r:id="rId11"/>
            </p:custDataLst>
          </p:nvPr>
        </p:nvSpPr>
        <p:spPr>
          <a:xfrm>
            <a:off x="3934682" y="4190164"/>
            <a:ext cx="1660622" cy="1427827"/>
          </a:xfrm>
          <a:prstGeom prst="roundRect">
            <a:avLst>
              <a:gd name="adj" fmla="val 1944"/>
            </a:avLst>
          </a:prstGeom>
          <a:noFill/>
          <a:ln w="12700">
            <a:noFill/>
          </a:ln>
        </p:spPr>
        <p:txBody>
          <a:bodyPr wrap="square">
            <a:noAutofit/>
          </a:bodyPr>
          <a:lstStyle/>
          <a:p>
            <a:pPr>
              <a:lnSpc>
                <a:spcPct val="150000"/>
              </a:lnSpc>
              <a:buClr>
                <a:srgbClr val="F7A200"/>
              </a:buClr>
            </a:pPr>
            <a:r>
              <a:rPr lang="zh-CN" altLang="en-US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本品高选择性</a:t>
            </a:r>
            <a:r>
              <a:rPr lang="en-US" altLang="zh-CN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H</a:t>
            </a:r>
            <a:r>
              <a:rPr lang="en-US" altLang="zh-CN" sz="1100" baseline="-25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1</a:t>
            </a:r>
            <a:r>
              <a:rPr lang="en-US" altLang="zh-CN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+</a:t>
            </a:r>
            <a:r>
              <a:rPr lang="zh-CN" altLang="en-US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肥大细胞膜稳定+无</a:t>
            </a:r>
            <a:r>
              <a:rPr lang="en-US" altLang="zh-CN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M</a:t>
            </a:r>
            <a:r>
              <a:rPr lang="zh-CN" altLang="en-US" sz="11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ea"/>
                <a:sym typeface="+mn-ea"/>
              </a:rPr>
              <a:t>受体拮抗，三重差异化优势，适配过敏合并干眼共病患者（临床高发人群）</a:t>
            </a:r>
            <a:endParaRPr lang="zh-CN" altLang="en-US" sz="110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ea"/>
              <a:sym typeface="+mn-ea"/>
            </a:endParaRPr>
          </a:p>
        </p:txBody>
      </p:sp>
      <p:cxnSp>
        <p:nvCxnSpPr>
          <p:cNvPr id="185" name="直接连接符 184"/>
          <p:cNvCxnSpPr/>
          <p:nvPr/>
        </p:nvCxnSpPr>
        <p:spPr>
          <a:xfrm>
            <a:off x="2116688" y="4290402"/>
            <a:ext cx="0" cy="1327589"/>
          </a:xfrm>
          <a:prstGeom prst="line">
            <a:avLst/>
          </a:prstGeom>
          <a:ln>
            <a:solidFill>
              <a:srgbClr val="0971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直接连接符 185"/>
          <p:cNvCxnSpPr/>
          <p:nvPr/>
        </p:nvCxnSpPr>
        <p:spPr>
          <a:xfrm>
            <a:off x="3871386" y="4290402"/>
            <a:ext cx="0" cy="1327589"/>
          </a:xfrm>
          <a:prstGeom prst="line">
            <a:avLst/>
          </a:prstGeom>
          <a:ln>
            <a:solidFill>
              <a:srgbClr val="0971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2210434" y="-2516505"/>
            <a:ext cx="9071610" cy="702945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71755" indent="0">
              <a:lnSpc>
                <a:spcPct val="100000"/>
              </a:lnSpc>
              <a:buNone/>
            </a:pPr>
            <a:endParaRPr lang="zh-CN" altLang="en-US" sz="2000" b="1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1"/>
          <a:srcRect l="21743" t="19167" r="16490" b="19167"/>
          <a:stretch>
            <a:fillRect/>
          </a:stretch>
        </p:blipFill>
        <p:spPr>
          <a:xfrm>
            <a:off x="5249377" y="2800350"/>
            <a:ext cx="1775424" cy="1775422"/>
          </a:xfrm>
          <a:custGeom>
            <a:avLst/>
            <a:gdLst>
              <a:gd name="connsiteX0" fmla="*/ 2114550 w 4229100"/>
              <a:gd name="connsiteY0" fmla="*/ 0 h 4229100"/>
              <a:gd name="connsiteX1" fmla="*/ 4229100 w 4229100"/>
              <a:gd name="connsiteY1" fmla="*/ 2114550 h 4229100"/>
              <a:gd name="connsiteX2" fmla="*/ 2114550 w 4229100"/>
              <a:gd name="connsiteY2" fmla="*/ 4229100 h 4229100"/>
              <a:gd name="connsiteX3" fmla="*/ 0 w 4229100"/>
              <a:gd name="connsiteY3" fmla="*/ 2114550 h 4229100"/>
              <a:gd name="connsiteX4" fmla="*/ 2114550 w 4229100"/>
              <a:gd name="connsiteY4" fmla="*/ 0 h 422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9100" h="4229100">
                <a:moveTo>
                  <a:pt x="2114550" y="0"/>
                </a:moveTo>
                <a:cubicBezTo>
                  <a:pt x="3282384" y="0"/>
                  <a:pt x="4229100" y="946716"/>
                  <a:pt x="4229100" y="2114550"/>
                </a:cubicBezTo>
                <a:cubicBezTo>
                  <a:pt x="4229100" y="3282384"/>
                  <a:pt x="3282384" y="4229100"/>
                  <a:pt x="2114550" y="4229100"/>
                </a:cubicBezTo>
                <a:cubicBezTo>
                  <a:pt x="946716" y="4229100"/>
                  <a:pt x="0" y="3282384"/>
                  <a:pt x="0" y="2114550"/>
                </a:cubicBezTo>
                <a:cubicBezTo>
                  <a:pt x="0" y="946716"/>
                  <a:pt x="946716" y="0"/>
                  <a:pt x="2114550" y="0"/>
                </a:cubicBezTo>
                <a:close/>
              </a:path>
            </a:pathLst>
          </a:custGeom>
          <a:ln w="28575">
            <a:noFill/>
          </a:ln>
        </p:spPr>
      </p:pic>
      <p:sp>
        <p:nvSpPr>
          <p:cNvPr id="34" name="矩形: 圆角 33"/>
          <p:cNvSpPr/>
          <p:nvPr>
            <p:custDataLst>
              <p:tags r:id="rId2"/>
            </p:custDataLst>
          </p:nvPr>
        </p:nvSpPr>
        <p:spPr>
          <a:xfrm>
            <a:off x="537210" y="3413125"/>
            <a:ext cx="4427220" cy="2997200"/>
          </a:xfrm>
          <a:prstGeom prst="roundRect">
            <a:avLst>
              <a:gd name="adj" fmla="val 4753"/>
            </a:avLst>
          </a:prstGeom>
          <a:solidFill>
            <a:schemeClr val="bg1"/>
          </a:solidFill>
          <a:ln w="15875">
            <a:solidFill>
              <a:srgbClr val="0971CA"/>
            </a:solidFill>
          </a:ln>
          <a:effectLst>
            <a:outerShdw blurRad="63500" dist="63500" dir="5400000" algn="t" rotWithShape="0">
              <a:srgbClr val="0971CA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: 圆角 37"/>
          <p:cNvSpPr/>
          <p:nvPr>
            <p:custDataLst>
              <p:tags r:id="rId3"/>
            </p:custDataLst>
          </p:nvPr>
        </p:nvSpPr>
        <p:spPr>
          <a:xfrm flipH="1">
            <a:off x="7376795" y="3345815"/>
            <a:ext cx="4269740" cy="3068320"/>
          </a:xfrm>
          <a:prstGeom prst="roundRect">
            <a:avLst>
              <a:gd name="adj" fmla="val 3717"/>
            </a:avLst>
          </a:prstGeom>
          <a:solidFill>
            <a:schemeClr val="bg1"/>
          </a:solidFill>
          <a:ln w="15875">
            <a:solidFill>
              <a:srgbClr val="0971CA"/>
            </a:solidFill>
          </a:ln>
          <a:effectLst>
            <a:outerShdw blurRad="63500" dist="63500" dir="5400000" algn="t" rotWithShape="0">
              <a:srgbClr val="0971CA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0" name="矩形: 圆角 39"/>
          <p:cNvSpPr/>
          <p:nvPr>
            <p:custDataLst>
              <p:tags r:id="rId4"/>
            </p:custDataLst>
          </p:nvPr>
        </p:nvSpPr>
        <p:spPr>
          <a:xfrm>
            <a:off x="511810" y="1129665"/>
            <a:ext cx="4427220" cy="2159635"/>
          </a:xfrm>
          <a:prstGeom prst="roundRect">
            <a:avLst>
              <a:gd name="adj" fmla="val 4753"/>
            </a:avLst>
          </a:prstGeom>
          <a:solidFill>
            <a:schemeClr val="bg1"/>
          </a:solidFill>
          <a:ln w="15875">
            <a:solidFill>
              <a:srgbClr val="0971CA"/>
            </a:solidFill>
          </a:ln>
          <a:effectLst>
            <a:outerShdw blurRad="63500" dist="63500" dir="5400000" algn="t" rotWithShape="0">
              <a:srgbClr val="0971CA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/>
          <p:cNvSpPr/>
          <p:nvPr/>
        </p:nvSpPr>
        <p:spPr>
          <a:xfrm>
            <a:off x="657947" y="1233967"/>
            <a:ext cx="370753" cy="370753"/>
          </a:xfrm>
          <a:prstGeom prst="ellipse">
            <a:avLst/>
          </a:prstGeom>
          <a:solidFill>
            <a:srgbClr val="0971CA"/>
          </a:solidFill>
          <a:ln w="63500">
            <a:solidFill>
              <a:srgbClr val="0971CA">
                <a:alpha val="1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FFFF"/>
              </a:buClr>
              <a:buSzPct val="100000"/>
            </a:pPr>
            <a:endParaRPr lang="zh-CN" altLang="en-US" sz="1600" b="1" spc="-1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1148800" y="1250066"/>
            <a:ext cx="3553828" cy="338554"/>
          </a:xfrm>
          <a:prstGeom prst="rect">
            <a:avLst/>
          </a:prstGeom>
          <a:gradFill>
            <a:gsLst>
              <a:gs pos="11000">
                <a:srgbClr val="0971CA">
                  <a:alpha val="10000"/>
                </a:srgbClr>
              </a:gs>
              <a:gs pos="0">
                <a:srgbClr val="0971CA">
                  <a:alpha val="0"/>
                </a:srgbClr>
              </a:gs>
              <a:gs pos="100000">
                <a:srgbClr val="0971CA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defRPr/>
            </a:pPr>
            <a:r>
              <a:rPr kumimoji="0" lang="zh-CN" altLang="en-US" sz="1600" b="1" i="0" u="none" strike="noStrike" kern="1200" cap="none" spc="-10" normalizeH="0" baseline="0" noProof="0">
                <a:ln>
                  <a:noFill/>
                </a:ln>
                <a:solidFill>
                  <a:srgbClr val="0971C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弥补临床和医保目录空缺</a:t>
            </a:r>
            <a:endParaRPr kumimoji="0" lang="zh-CN" altLang="en-US" sz="1600" b="1" i="0" u="none" strike="noStrike" kern="1200" cap="none" spc="-10" normalizeH="0" baseline="0" noProof="0" dirty="0">
              <a:ln>
                <a:noFill/>
              </a:ln>
              <a:solidFill>
                <a:srgbClr val="0971C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3" name="任意多边形: 形状 52"/>
          <p:cNvSpPr/>
          <p:nvPr/>
        </p:nvSpPr>
        <p:spPr>
          <a:xfrm>
            <a:off x="736173" y="1301581"/>
            <a:ext cx="214300" cy="235525"/>
          </a:xfrm>
          <a:custGeom>
            <a:avLst/>
            <a:gdLst>
              <a:gd name="csX0" fmla="*/ 184537 w 214300"/>
              <a:gd name="csY0" fmla="*/ 170691 h 235525"/>
              <a:gd name="csX1" fmla="*/ 192690 w 214300"/>
              <a:gd name="csY1" fmla="*/ 170691 h 235525"/>
              <a:gd name="csX2" fmla="*/ 192690 w 214300"/>
              <a:gd name="csY2" fmla="*/ 178973 h 235525"/>
              <a:gd name="csX3" fmla="*/ 158396 w 214300"/>
              <a:gd name="csY3" fmla="*/ 213266 h 235525"/>
              <a:gd name="csX4" fmla="*/ 149985 w 214300"/>
              <a:gd name="csY4" fmla="*/ 213396 h 235525"/>
              <a:gd name="csX5" fmla="*/ 131868 w 214300"/>
              <a:gd name="csY5" fmla="*/ 196832 h 235525"/>
              <a:gd name="csX6" fmla="*/ 131479 w 214300"/>
              <a:gd name="csY6" fmla="*/ 188291 h 235525"/>
              <a:gd name="csX7" fmla="*/ 131609 w 214300"/>
              <a:gd name="csY7" fmla="*/ 188161 h 235525"/>
              <a:gd name="csX8" fmla="*/ 140408 w 214300"/>
              <a:gd name="csY8" fmla="*/ 188032 h 235525"/>
              <a:gd name="csX9" fmla="*/ 154255 w 214300"/>
              <a:gd name="csY9" fmla="*/ 201102 h 235525"/>
              <a:gd name="csX10" fmla="*/ 72857 w 214300"/>
              <a:gd name="csY10" fmla="*/ 149597 h 235525"/>
              <a:gd name="csX11" fmla="*/ 117761 w 214300"/>
              <a:gd name="csY11" fmla="*/ 149597 h 235525"/>
              <a:gd name="csX12" fmla="*/ 123455 w 214300"/>
              <a:gd name="csY12" fmla="*/ 155162 h 235525"/>
              <a:gd name="csX13" fmla="*/ 117891 w 214300"/>
              <a:gd name="csY13" fmla="*/ 160727 h 235525"/>
              <a:gd name="csX14" fmla="*/ 72857 w 214300"/>
              <a:gd name="csY14" fmla="*/ 160727 h 235525"/>
              <a:gd name="csX15" fmla="*/ 67292 w 214300"/>
              <a:gd name="csY15" fmla="*/ 155162 h 235525"/>
              <a:gd name="csX16" fmla="*/ 72857 w 214300"/>
              <a:gd name="csY16" fmla="*/ 149597 h 235525"/>
              <a:gd name="csX17" fmla="*/ 72857 w 214300"/>
              <a:gd name="csY17" fmla="*/ 110387 h 235525"/>
              <a:gd name="csX18" fmla="*/ 173925 w 214300"/>
              <a:gd name="csY18" fmla="*/ 110387 h 235525"/>
              <a:gd name="csX19" fmla="*/ 179489 w 214300"/>
              <a:gd name="csY19" fmla="*/ 115951 h 235525"/>
              <a:gd name="csX20" fmla="*/ 173925 w 214300"/>
              <a:gd name="csY20" fmla="*/ 121516 h 235525"/>
              <a:gd name="csX21" fmla="*/ 72857 w 214300"/>
              <a:gd name="csY21" fmla="*/ 121516 h 235525"/>
              <a:gd name="csX22" fmla="*/ 67292 w 214300"/>
              <a:gd name="csY22" fmla="*/ 115951 h 235525"/>
              <a:gd name="csX23" fmla="*/ 72857 w 214300"/>
              <a:gd name="csY23" fmla="*/ 110387 h 235525"/>
              <a:gd name="csX24" fmla="*/ 72857 w 214300"/>
              <a:gd name="csY24" fmla="*/ 70917 h 235525"/>
              <a:gd name="csX25" fmla="*/ 173925 w 214300"/>
              <a:gd name="csY25" fmla="*/ 70917 h 235525"/>
              <a:gd name="csX26" fmla="*/ 179489 w 214300"/>
              <a:gd name="csY26" fmla="*/ 76482 h 235525"/>
              <a:gd name="csX27" fmla="*/ 173925 w 214300"/>
              <a:gd name="csY27" fmla="*/ 82046 h 235525"/>
              <a:gd name="csX28" fmla="*/ 72857 w 214300"/>
              <a:gd name="csY28" fmla="*/ 82046 h 235525"/>
              <a:gd name="csX29" fmla="*/ 67292 w 214300"/>
              <a:gd name="csY29" fmla="*/ 76482 h 235525"/>
              <a:gd name="csX30" fmla="*/ 72857 w 214300"/>
              <a:gd name="csY30" fmla="*/ 70917 h 235525"/>
              <a:gd name="csX31" fmla="*/ 53575 w 214300"/>
              <a:gd name="csY31" fmla="*/ 42835 h 235525"/>
              <a:gd name="csX32" fmla="*/ 42834 w 214300"/>
              <a:gd name="csY32" fmla="*/ 53576 h 235525"/>
              <a:gd name="csX33" fmla="*/ 42834 w 214300"/>
              <a:gd name="csY33" fmla="*/ 214043 h 235525"/>
              <a:gd name="csX34" fmla="*/ 53575 w 214300"/>
              <a:gd name="csY34" fmla="*/ 224784 h 235525"/>
              <a:gd name="csX35" fmla="*/ 192689 w 214300"/>
              <a:gd name="csY35" fmla="*/ 224784 h 235525"/>
              <a:gd name="csX36" fmla="*/ 203430 w 214300"/>
              <a:gd name="csY36" fmla="*/ 214043 h 235525"/>
              <a:gd name="csX37" fmla="*/ 203560 w 214300"/>
              <a:gd name="csY37" fmla="*/ 214043 h 235525"/>
              <a:gd name="csX38" fmla="*/ 203560 w 214300"/>
              <a:gd name="csY38" fmla="*/ 53576 h 235525"/>
              <a:gd name="csX39" fmla="*/ 192819 w 214300"/>
              <a:gd name="csY39" fmla="*/ 42835 h 235525"/>
              <a:gd name="csX40" fmla="*/ 26917 w 214300"/>
              <a:gd name="csY40" fmla="*/ 10613 h 235525"/>
              <a:gd name="csX41" fmla="*/ 10870 w 214300"/>
              <a:gd name="csY41" fmla="*/ 26659 h 235525"/>
              <a:gd name="csX42" fmla="*/ 10870 w 214300"/>
              <a:gd name="csY42" fmla="*/ 176644 h 235525"/>
              <a:gd name="csX43" fmla="*/ 26917 w 214300"/>
              <a:gd name="csY43" fmla="*/ 192690 h 235525"/>
              <a:gd name="csX44" fmla="*/ 32223 w 214300"/>
              <a:gd name="csY44" fmla="*/ 192690 h 235525"/>
              <a:gd name="csX45" fmla="*/ 32223 w 214300"/>
              <a:gd name="csY45" fmla="*/ 53576 h 235525"/>
              <a:gd name="csX46" fmla="*/ 53705 w 214300"/>
              <a:gd name="csY46" fmla="*/ 31965 h 235525"/>
              <a:gd name="csX47" fmla="*/ 171466 w 214300"/>
              <a:gd name="csY47" fmla="*/ 31965 h 235525"/>
              <a:gd name="csX48" fmla="*/ 171466 w 214300"/>
              <a:gd name="csY48" fmla="*/ 26659 h 235525"/>
              <a:gd name="csX49" fmla="*/ 155420 w 214300"/>
              <a:gd name="csY49" fmla="*/ 10613 h 235525"/>
              <a:gd name="csX50" fmla="*/ 26788 w 214300"/>
              <a:gd name="csY50" fmla="*/ 1 h 235525"/>
              <a:gd name="csX51" fmla="*/ 155290 w 214300"/>
              <a:gd name="csY51" fmla="*/ 1 h 235525"/>
              <a:gd name="csX52" fmla="*/ 182078 w 214300"/>
              <a:gd name="csY52" fmla="*/ 26789 h 235525"/>
              <a:gd name="csX53" fmla="*/ 182078 w 214300"/>
              <a:gd name="csY53" fmla="*/ 32094 h 235525"/>
              <a:gd name="csX54" fmla="*/ 192819 w 214300"/>
              <a:gd name="csY54" fmla="*/ 32094 h 235525"/>
              <a:gd name="csX55" fmla="*/ 214300 w 214300"/>
              <a:gd name="csY55" fmla="*/ 53576 h 235525"/>
              <a:gd name="csX56" fmla="*/ 214300 w 214300"/>
              <a:gd name="csY56" fmla="*/ 214043 h 235525"/>
              <a:gd name="csX57" fmla="*/ 192819 w 214300"/>
              <a:gd name="csY57" fmla="*/ 235525 h 235525"/>
              <a:gd name="csX58" fmla="*/ 53575 w 214300"/>
              <a:gd name="csY58" fmla="*/ 235525 h 235525"/>
              <a:gd name="csX59" fmla="*/ 32093 w 214300"/>
              <a:gd name="csY59" fmla="*/ 214043 h 235525"/>
              <a:gd name="csX60" fmla="*/ 32093 w 214300"/>
              <a:gd name="csY60" fmla="*/ 203302 h 235525"/>
              <a:gd name="csX61" fmla="*/ 26788 w 214300"/>
              <a:gd name="csY61" fmla="*/ 203302 h 235525"/>
              <a:gd name="csX62" fmla="*/ 0 w 214300"/>
              <a:gd name="csY62" fmla="*/ 176514 h 235525"/>
              <a:gd name="csX63" fmla="*/ 0 w 214300"/>
              <a:gd name="csY63" fmla="*/ 26659 h 235525"/>
              <a:gd name="csX64" fmla="*/ 26788 w 214300"/>
              <a:gd name="csY64" fmla="*/ 1 h 23552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</a:cxnLst>
            <a:rect l="l" t="t" r="r" b="b"/>
            <a:pathLst>
              <a:path w="214300" h="235525">
                <a:moveTo>
                  <a:pt x="184537" y="170691"/>
                </a:moveTo>
                <a:cubicBezTo>
                  <a:pt x="186737" y="168362"/>
                  <a:pt x="190490" y="168362"/>
                  <a:pt x="192690" y="170691"/>
                </a:cubicBezTo>
                <a:cubicBezTo>
                  <a:pt x="195019" y="173020"/>
                  <a:pt x="194889" y="176773"/>
                  <a:pt x="192690" y="178973"/>
                </a:cubicBezTo>
                <a:lnTo>
                  <a:pt x="158396" y="213266"/>
                </a:lnTo>
                <a:cubicBezTo>
                  <a:pt x="156067" y="215596"/>
                  <a:pt x="152443" y="215596"/>
                  <a:pt x="149985" y="213396"/>
                </a:cubicBezTo>
                <a:lnTo>
                  <a:pt x="131868" y="196832"/>
                </a:lnTo>
                <a:cubicBezTo>
                  <a:pt x="129409" y="194632"/>
                  <a:pt x="129279" y="190749"/>
                  <a:pt x="131479" y="188291"/>
                </a:cubicBezTo>
                <a:lnTo>
                  <a:pt x="131609" y="188161"/>
                </a:lnTo>
                <a:cubicBezTo>
                  <a:pt x="133938" y="185702"/>
                  <a:pt x="137950" y="185573"/>
                  <a:pt x="140408" y="188032"/>
                </a:cubicBezTo>
                <a:lnTo>
                  <a:pt x="154255" y="201102"/>
                </a:lnTo>
                <a:close/>
                <a:moveTo>
                  <a:pt x="72857" y="149597"/>
                </a:moveTo>
                <a:lnTo>
                  <a:pt x="117761" y="149597"/>
                </a:lnTo>
                <a:cubicBezTo>
                  <a:pt x="120997" y="149597"/>
                  <a:pt x="123455" y="152056"/>
                  <a:pt x="123455" y="155162"/>
                </a:cubicBezTo>
                <a:cubicBezTo>
                  <a:pt x="123455" y="158268"/>
                  <a:pt x="120997" y="160727"/>
                  <a:pt x="117891" y="160727"/>
                </a:cubicBezTo>
                <a:lnTo>
                  <a:pt x="72857" y="160727"/>
                </a:lnTo>
                <a:cubicBezTo>
                  <a:pt x="69751" y="160727"/>
                  <a:pt x="67292" y="158268"/>
                  <a:pt x="67292" y="155162"/>
                </a:cubicBezTo>
                <a:cubicBezTo>
                  <a:pt x="67292" y="152056"/>
                  <a:pt x="69751" y="149597"/>
                  <a:pt x="72857" y="149597"/>
                </a:cubicBezTo>
                <a:close/>
                <a:moveTo>
                  <a:pt x="72857" y="110387"/>
                </a:moveTo>
                <a:lnTo>
                  <a:pt x="173925" y="110387"/>
                </a:lnTo>
                <a:cubicBezTo>
                  <a:pt x="177030" y="110387"/>
                  <a:pt x="179489" y="112845"/>
                  <a:pt x="179489" y="115951"/>
                </a:cubicBezTo>
                <a:cubicBezTo>
                  <a:pt x="179489" y="119057"/>
                  <a:pt x="177030" y="121516"/>
                  <a:pt x="173925" y="121516"/>
                </a:cubicBezTo>
                <a:lnTo>
                  <a:pt x="72857" y="121516"/>
                </a:lnTo>
                <a:cubicBezTo>
                  <a:pt x="69751" y="121516"/>
                  <a:pt x="67292" y="118928"/>
                  <a:pt x="67292" y="115951"/>
                </a:cubicBezTo>
                <a:cubicBezTo>
                  <a:pt x="67292" y="112845"/>
                  <a:pt x="69751" y="110387"/>
                  <a:pt x="72857" y="110387"/>
                </a:cubicBezTo>
                <a:close/>
                <a:moveTo>
                  <a:pt x="72857" y="70917"/>
                </a:moveTo>
                <a:lnTo>
                  <a:pt x="173925" y="70917"/>
                </a:lnTo>
                <a:cubicBezTo>
                  <a:pt x="177030" y="70917"/>
                  <a:pt x="179489" y="73376"/>
                  <a:pt x="179489" y="76482"/>
                </a:cubicBezTo>
                <a:cubicBezTo>
                  <a:pt x="179489" y="79587"/>
                  <a:pt x="177030" y="82046"/>
                  <a:pt x="173925" y="82046"/>
                </a:cubicBezTo>
                <a:lnTo>
                  <a:pt x="72857" y="82046"/>
                </a:lnTo>
                <a:cubicBezTo>
                  <a:pt x="69751" y="82046"/>
                  <a:pt x="67292" y="79587"/>
                  <a:pt x="67292" y="76482"/>
                </a:cubicBezTo>
                <a:cubicBezTo>
                  <a:pt x="67292" y="73376"/>
                  <a:pt x="69751" y="70917"/>
                  <a:pt x="72857" y="70917"/>
                </a:cubicBezTo>
                <a:close/>
                <a:moveTo>
                  <a:pt x="53575" y="42835"/>
                </a:moveTo>
                <a:cubicBezTo>
                  <a:pt x="47622" y="42835"/>
                  <a:pt x="42834" y="47753"/>
                  <a:pt x="42834" y="53576"/>
                </a:cubicBezTo>
                <a:lnTo>
                  <a:pt x="42834" y="214043"/>
                </a:lnTo>
                <a:cubicBezTo>
                  <a:pt x="42834" y="219995"/>
                  <a:pt x="47752" y="224784"/>
                  <a:pt x="53575" y="224784"/>
                </a:cubicBezTo>
                <a:lnTo>
                  <a:pt x="192689" y="224784"/>
                </a:lnTo>
                <a:cubicBezTo>
                  <a:pt x="198642" y="224784"/>
                  <a:pt x="203430" y="219866"/>
                  <a:pt x="203430" y="214043"/>
                </a:cubicBezTo>
                <a:lnTo>
                  <a:pt x="203560" y="214043"/>
                </a:lnTo>
                <a:lnTo>
                  <a:pt x="203560" y="53576"/>
                </a:lnTo>
                <a:cubicBezTo>
                  <a:pt x="203560" y="47623"/>
                  <a:pt x="198642" y="42835"/>
                  <a:pt x="192819" y="42835"/>
                </a:cubicBezTo>
                <a:close/>
                <a:moveTo>
                  <a:pt x="26917" y="10613"/>
                </a:moveTo>
                <a:cubicBezTo>
                  <a:pt x="18117" y="10613"/>
                  <a:pt x="10870" y="17859"/>
                  <a:pt x="10870" y="26659"/>
                </a:cubicBezTo>
                <a:lnTo>
                  <a:pt x="10870" y="176644"/>
                </a:lnTo>
                <a:cubicBezTo>
                  <a:pt x="10870" y="185443"/>
                  <a:pt x="18117" y="192690"/>
                  <a:pt x="26917" y="192690"/>
                </a:cubicBezTo>
                <a:lnTo>
                  <a:pt x="32223" y="192690"/>
                </a:lnTo>
                <a:lnTo>
                  <a:pt x="32223" y="53576"/>
                </a:lnTo>
                <a:cubicBezTo>
                  <a:pt x="32223" y="41671"/>
                  <a:pt x="41799" y="32094"/>
                  <a:pt x="53705" y="31965"/>
                </a:cubicBezTo>
                <a:lnTo>
                  <a:pt x="171466" y="31965"/>
                </a:lnTo>
                <a:lnTo>
                  <a:pt x="171466" y="26659"/>
                </a:lnTo>
                <a:cubicBezTo>
                  <a:pt x="171466" y="17859"/>
                  <a:pt x="164219" y="10613"/>
                  <a:pt x="155420" y="10613"/>
                </a:cubicBezTo>
                <a:close/>
                <a:moveTo>
                  <a:pt x="26788" y="1"/>
                </a:moveTo>
                <a:lnTo>
                  <a:pt x="155290" y="1"/>
                </a:lnTo>
                <a:cubicBezTo>
                  <a:pt x="170043" y="1"/>
                  <a:pt x="182078" y="11907"/>
                  <a:pt x="182078" y="26789"/>
                </a:cubicBezTo>
                <a:lnTo>
                  <a:pt x="182078" y="32094"/>
                </a:lnTo>
                <a:lnTo>
                  <a:pt x="192819" y="32094"/>
                </a:lnTo>
                <a:cubicBezTo>
                  <a:pt x="204595" y="32094"/>
                  <a:pt x="214171" y="41671"/>
                  <a:pt x="214300" y="53576"/>
                </a:cubicBezTo>
                <a:lnTo>
                  <a:pt x="214300" y="214043"/>
                </a:lnTo>
                <a:cubicBezTo>
                  <a:pt x="214300" y="225948"/>
                  <a:pt x="204595" y="235525"/>
                  <a:pt x="192819" y="235525"/>
                </a:cubicBezTo>
                <a:lnTo>
                  <a:pt x="53575" y="235525"/>
                </a:lnTo>
                <a:cubicBezTo>
                  <a:pt x="41670" y="235525"/>
                  <a:pt x="32093" y="225819"/>
                  <a:pt x="32093" y="214043"/>
                </a:cubicBezTo>
                <a:lnTo>
                  <a:pt x="32093" y="203302"/>
                </a:lnTo>
                <a:lnTo>
                  <a:pt x="26788" y="203302"/>
                </a:lnTo>
                <a:cubicBezTo>
                  <a:pt x="12035" y="203302"/>
                  <a:pt x="0" y="191396"/>
                  <a:pt x="0" y="176514"/>
                </a:cubicBezTo>
                <a:lnTo>
                  <a:pt x="0" y="26659"/>
                </a:lnTo>
                <a:cubicBezTo>
                  <a:pt x="0" y="11907"/>
                  <a:pt x="12035" y="-128"/>
                  <a:pt x="26788" y="1"/>
                </a:cubicBezTo>
                <a:close/>
              </a:path>
            </a:pathLst>
          </a:custGeom>
          <a:solidFill>
            <a:schemeClr val="bg1"/>
          </a:solidFill>
          <a:ln w="251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54" name="文本框 53"/>
          <p:cNvSpPr txBox="1"/>
          <p:nvPr>
            <p:custDataLst>
              <p:tags r:id="rId5"/>
            </p:custDataLst>
          </p:nvPr>
        </p:nvSpPr>
        <p:spPr>
          <a:xfrm>
            <a:off x="584835" y="1605280"/>
            <a:ext cx="4280535" cy="160464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marR="0" lvl="0" indent="-285750" defTabSz="914400" rtl="0" fontAlgn="auto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现行目录内抗过敏滴眼液，普遍不适用于过敏合并干眼人群，且无法覆盖2～3岁低龄幼儿，存在明显用药缺口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lvl="0" indent="-285750" defTabSz="914400" rtl="0" fontAlgn="auto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本品既适配眼表共病治疗，又填补低龄儿童专用药空白，</a:t>
            </a:r>
            <a:r>
              <a:rPr kumimoji="0" lang="zh-CN" alt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完善目录用药布局，补齐临床刚需短板</a:t>
            </a:r>
            <a:endParaRPr kumimoji="0" lang="zh-CN" altLang="en-US" sz="140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5" name="矩形: 圆角 54"/>
          <p:cNvSpPr/>
          <p:nvPr>
            <p:custDataLst>
              <p:tags r:id="rId6"/>
            </p:custDataLst>
          </p:nvPr>
        </p:nvSpPr>
        <p:spPr>
          <a:xfrm>
            <a:off x="7334885" y="1062355"/>
            <a:ext cx="4286250" cy="2159635"/>
          </a:xfrm>
          <a:prstGeom prst="roundRect">
            <a:avLst>
              <a:gd name="adj" fmla="val 4753"/>
            </a:avLst>
          </a:prstGeom>
          <a:solidFill>
            <a:schemeClr val="bg1"/>
          </a:solidFill>
          <a:ln w="15875">
            <a:solidFill>
              <a:srgbClr val="0971CA"/>
            </a:solidFill>
          </a:ln>
          <a:effectLst>
            <a:outerShdw blurRad="63500" dist="63500" dir="5400000" algn="t" rotWithShape="0">
              <a:srgbClr val="0971CA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57" name="椭圆 56"/>
          <p:cNvSpPr/>
          <p:nvPr/>
        </p:nvSpPr>
        <p:spPr>
          <a:xfrm>
            <a:off x="7576338" y="1218092"/>
            <a:ext cx="370753" cy="370753"/>
          </a:xfrm>
          <a:prstGeom prst="ellipse">
            <a:avLst/>
          </a:prstGeom>
          <a:solidFill>
            <a:srgbClr val="0971CA"/>
          </a:solidFill>
          <a:ln w="63500">
            <a:solidFill>
              <a:srgbClr val="0971CA">
                <a:alpha val="1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FFFF"/>
              </a:buClr>
              <a:buSzPct val="100000"/>
            </a:pPr>
            <a:endParaRPr lang="zh-CN" altLang="en-US" sz="1600" b="1" spc="-1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067191" y="1234191"/>
            <a:ext cx="3553828" cy="337185"/>
          </a:xfrm>
          <a:prstGeom prst="rect">
            <a:avLst/>
          </a:prstGeom>
          <a:gradFill>
            <a:gsLst>
              <a:gs pos="11000">
                <a:srgbClr val="0971CA">
                  <a:alpha val="10000"/>
                </a:srgbClr>
              </a:gs>
              <a:gs pos="0">
                <a:srgbClr val="0971CA">
                  <a:alpha val="0"/>
                </a:srgbClr>
              </a:gs>
              <a:gs pos="100000">
                <a:srgbClr val="0971CA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defRPr/>
            </a:pPr>
            <a:r>
              <a:rPr lang="zh-CN" altLang="en-US" sz="1600" b="1" spc="-10" noProof="0">
                <a:ln>
                  <a:noFill/>
                </a:ln>
                <a:solidFill>
                  <a:srgbClr val="0971C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便于临床管理</a:t>
            </a:r>
            <a:endParaRPr lang="zh-CN" altLang="en-US" sz="1600" b="1" spc="-10" noProof="0">
              <a:ln>
                <a:noFill/>
              </a:ln>
              <a:solidFill>
                <a:srgbClr val="0971C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0" name="文本框 59"/>
          <p:cNvSpPr txBox="1"/>
          <p:nvPr>
            <p:custDataLst>
              <p:tags r:id="rId7"/>
            </p:custDataLst>
          </p:nvPr>
        </p:nvSpPr>
        <p:spPr>
          <a:xfrm>
            <a:off x="7472045" y="1609090"/>
            <a:ext cx="4075430" cy="155194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本品用药方案简洁，起效快、安全性高，不良反应发生率低，减少临床应急处置工作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b="1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明确覆盖低龄幼儿，取用便捷、剂量精准</a:t>
            </a:r>
            <a:endParaRPr lang="zh-CN" altLang="en-US" sz="1400" b="1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便于各级医疗机构统一诊疗标准，开展用药管理与健康宣教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4" name="图形 62"/>
          <p:cNvSpPr/>
          <p:nvPr/>
        </p:nvSpPr>
        <p:spPr>
          <a:xfrm>
            <a:off x="7651086" y="1323099"/>
            <a:ext cx="221256" cy="160738"/>
          </a:xfrm>
          <a:custGeom>
            <a:avLst/>
            <a:gdLst>
              <a:gd name="csX0" fmla="*/ 11687 w 221256"/>
              <a:gd name="csY0" fmla="*/ 0 h 160738"/>
              <a:gd name="csX1" fmla="*/ 23358 w 221256"/>
              <a:gd name="csY1" fmla="*/ 11666 h 160738"/>
              <a:gd name="csX2" fmla="*/ 23358 w 221256"/>
              <a:gd name="csY2" fmla="*/ 160738 h 160738"/>
              <a:gd name="csX3" fmla="*/ 0 w 221256"/>
              <a:gd name="csY3" fmla="*/ 160738 h 160738"/>
              <a:gd name="csX4" fmla="*/ 0 w 221256"/>
              <a:gd name="csY4" fmla="*/ 11666 h 160738"/>
              <a:gd name="csX5" fmla="*/ 11679 w 221256"/>
              <a:gd name="csY5" fmla="*/ 0 h 160738"/>
              <a:gd name="csX6" fmla="*/ 11687 w 221256"/>
              <a:gd name="csY6" fmla="*/ 0 h 160738"/>
              <a:gd name="csX7" fmla="*/ 209577 w 221256"/>
              <a:gd name="csY7" fmla="*/ 57702 h 160738"/>
              <a:gd name="csX8" fmla="*/ 221256 w 221256"/>
              <a:gd name="csY8" fmla="*/ 69368 h 160738"/>
              <a:gd name="csX9" fmla="*/ 221256 w 221256"/>
              <a:gd name="csY9" fmla="*/ 160738 h 160738"/>
              <a:gd name="csX10" fmla="*/ 197906 w 221256"/>
              <a:gd name="csY10" fmla="*/ 160738 h 160738"/>
              <a:gd name="csX11" fmla="*/ 197906 w 221256"/>
              <a:gd name="csY11" fmla="*/ 69368 h 160738"/>
              <a:gd name="csX12" fmla="*/ 209577 w 221256"/>
              <a:gd name="csY12" fmla="*/ 57702 h 160738"/>
              <a:gd name="csX13" fmla="*/ 19242 w 221256"/>
              <a:gd name="csY13" fmla="*/ 104415 h 160738"/>
              <a:gd name="csX14" fmla="*/ 197906 w 221256"/>
              <a:gd name="csY14" fmla="*/ 104415 h 160738"/>
              <a:gd name="csX15" fmla="*/ 197906 w 221256"/>
              <a:gd name="csY15" fmla="*/ 127771 h 160738"/>
              <a:gd name="csX16" fmla="*/ 19242 w 221256"/>
              <a:gd name="csY16" fmla="*/ 127771 h 160738"/>
              <a:gd name="csX17" fmla="*/ 19242 w 221256"/>
              <a:gd name="csY17" fmla="*/ 104415 h 160738"/>
              <a:gd name="csX18" fmla="*/ 48104 w 221256"/>
              <a:gd name="csY18" fmla="*/ 59072 h 160738"/>
              <a:gd name="csX19" fmla="*/ 67375 w 221256"/>
              <a:gd name="csY19" fmla="*/ 78297 h 160738"/>
              <a:gd name="csX20" fmla="*/ 48129 w 221256"/>
              <a:gd name="csY20" fmla="*/ 97546 h 160738"/>
              <a:gd name="csX21" fmla="*/ 28859 w 221256"/>
              <a:gd name="csY21" fmla="*/ 78321 h 160738"/>
              <a:gd name="csX22" fmla="*/ 48104 w 221256"/>
              <a:gd name="csY22" fmla="*/ 59072 h 160738"/>
              <a:gd name="csX23" fmla="*/ 93457 w 221256"/>
              <a:gd name="csY23" fmla="*/ 53582 h 160738"/>
              <a:gd name="csX24" fmla="*/ 93457 w 221256"/>
              <a:gd name="csY24" fmla="*/ 98916 h 160738"/>
              <a:gd name="csX25" fmla="*/ 67338 w 221256"/>
              <a:gd name="csY25" fmla="*/ 98916 h 160738"/>
              <a:gd name="csX26" fmla="*/ 93448 w 221256"/>
              <a:gd name="csY26" fmla="*/ 53582 h 160738"/>
              <a:gd name="csX27" fmla="*/ 97589 w 221256"/>
              <a:gd name="csY27" fmla="*/ 53582 h 160738"/>
              <a:gd name="csX28" fmla="*/ 167320 w 221256"/>
              <a:gd name="csY28" fmla="*/ 53582 h 160738"/>
              <a:gd name="csX29" fmla="*/ 189666 w 221256"/>
              <a:gd name="csY29" fmla="*/ 75902 h 160738"/>
              <a:gd name="csX30" fmla="*/ 189666 w 221256"/>
              <a:gd name="csY30" fmla="*/ 97538 h 160738"/>
              <a:gd name="csX31" fmla="*/ 97581 w 221256"/>
              <a:gd name="csY31" fmla="*/ 97538 h 160738"/>
              <a:gd name="csX32" fmla="*/ 97581 w 221256"/>
              <a:gd name="csY32" fmla="*/ 53582 h 16073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</a:cxnLst>
            <a:rect l="l" t="t" r="r" b="b"/>
            <a:pathLst>
              <a:path w="221256" h="160738">
                <a:moveTo>
                  <a:pt x="11687" y="0"/>
                </a:moveTo>
                <a:cubicBezTo>
                  <a:pt x="18139" y="0"/>
                  <a:pt x="23358" y="5221"/>
                  <a:pt x="23358" y="11666"/>
                </a:cubicBezTo>
                <a:lnTo>
                  <a:pt x="23358" y="160738"/>
                </a:lnTo>
                <a:lnTo>
                  <a:pt x="0" y="160738"/>
                </a:lnTo>
                <a:lnTo>
                  <a:pt x="0" y="11666"/>
                </a:lnTo>
                <a:cubicBezTo>
                  <a:pt x="0" y="5223"/>
                  <a:pt x="5229" y="0"/>
                  <a:pt x="11679" y="0"/>
                </a:cubicBezTo>
                <a:cubicBezTo>
                  <a:pt x="11682" y="0"/>
                  <a:pt x="11684" y="0"/>
                  <a:pt x="11687" y="0"/>
                </a:cubicBezTo>
                <a:close/>
                <a:moveTo>
                  <a:pt x="209577" y="57702"/>
                </a:moveTo>
                <a:cubicBezTo>
                  <a:pt x="216027" y="57702"/>
                  <a:pt x="221256" y="62925"/>
                  <a:pt x="221256" y="69368"/>
                </a:cubicBezTo>
                <a:lnTo>
                  <a:pt x="221256" y="160738"/>
                </a:lnTo>
                <a:lnTo>
                  <a:pt x="197906" y="160738"/>
                </a:lnTo>
                <a:lnTo>
                  <a:pt x="197906" y="69368"/>
                </a:lnTo>
                <a:cubicBezTo>
                  <a:pt x="197906" y="62923"/>
                  <a:pt x="203133" y="57702"/>
                  <a:pt x="209577" y="57702"/>
                </a:cubicBezTo>
                <a:close/>
                <a:moveTo>
                  <a:pt x="19242" y="104415"/>
                </a:moveTo>
                <a:lnTo>
                  <a:pt x="197906" y="104415"/>
                </a:lnTo>
                <a:lnTo>
                  <a:pt x="197906" y="127771"/>
                </a:lnTo>
                <a:lnTo>
                  <a:pt x="19242" y="127771"/>
                </a:lnTo>
                <a:lnTo>
                  <a:pt x="19242" y="104415"/>
                </a:lnTo>
                <a:close/>
                <a:moveTo>
                  <a:pt x="48104" y="59072"/>
                </a:moveTo>
                <a:cubicBezTo>
                  <a:pt x="58740" y="59066"/>
                  <a:pt x="67368" y="67673"/>
                  <a:pt x="67375" y="78297"/>
                </a:cubicBezTo>
                <a:cubicBezTo>
                  <a:pt x="67381" y="88921"/>
                  <a:pt x="58765" y="97539"/>
                  <a:pt x="48129" y="97546"/>
                </a:cubicBezTo>
                <a:cubicBezTo>
                  <a:pt x="37493" y="97553"/>
                  <a:pt x="28865" y="88945"/>
                  <a:pt x="28859" y="78321"/>
                </a:cubicBezTo>
                <a:cubicBezTo>
                  <a:pt x="28852" y="67697"/>
                  <a:pt x="37468" y="59079"/>
                  <a:pt x="48104" y="59072"/>
                </a:cubicBezTo>
                <a:close/>
                <a:moveTo>
                  <a:pt x="93457" y="53582"/>
                </a:moveTo>
                <a:lnTo>
                  <a:pt x="93457" y="98916"/>
                </a:lnTo>
                <a:lnTo>
                  <a:pt x="67338" y="98916"/>
                </a:lnTo>
                <a:cubicBezTo>
                  <a:pt x="67338" y="98092"/>
                  <a:pt x="68392" y="52677"/>
                  <a:pt x="93448" y="53582"/>
                </a:cubicBezTo>
                <a:close/>
                <a:moveTo>
                  <a:pt x="97589" y="53582"/>
                </a:moveTo>
                <a:lnTo>
                  <a:pt x="167320" y="53582"/>
                </a:lnTo>
                <a:cubicBezTo>
                  <a:pt x="179660" y="53586"/>
                  <a:pt x="189661" y="63577"/>
                  <a:pt x="189666" y="75902"/>
                </a:cubicBezTo>
                <a:lnTo>
                  <a:pt x="189666" y="97538"/>
                </a:lnTo>
                <a:lnTo>
                  <a:pt x="97581" y="97538"/>
                </a:lnTo>
                <a:lnTo>
                  <a:pt x="97581" y="53582"/>
                </a:lnTo>
                <a:close/>
              </a:path>
            </a:pathLst>
          </a:custGeom>
          <a:solidFill>
            <a:schemeClr val="bg1"/>
          </a:solidFill>
          <a:ln w="153" cap="flat">
            <a:noFill/>
            <a:prstDash val="solid"/>
            <a:miter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5" name="椭圆 64"/>
          <p:cNvSpPr/>
          <p:nvPr/>
        </p:nvSpPr>
        <p:spPr>
          <a:xfrm>
            <a:off x="683347" y="3562791"/>
            <a:ext cx="370753" cy="370753"/>
          </a:xfrm>
          <a:prstGeom prst="ellipse">
            <a:avLst/>
          </a:prstGeom>
          <a:solidFill>
            <a:srgbClr val="0971CA"/>
          </a:solidFill>
          <a:ln w="63500">
            <a:solidFill>
              <a:srgbClr val="0971CA">
                <a:alpha val="1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FFFF"/>
              </a:buClr>
              <a:buSzPct val="100000"/>
            </a:pPr>
            <a:endParaRPr lang="zh-CN" altLang="en-US" sz="1600" b="1" spc="-1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1174200" y="3578890"/>
            <a:ext cx="3553828" cy="337185"/>
          </a:xfrm>
          <a:prstGeom prst="rect">
            <a:avLst/>
          </a:prstGeom>
          <a:gradFill>
            <a:gsLst>
              <a:gs pos="11000">
                <a:srgbClr val="0971CA">
                  <a:alpha val="10000"/>
                </a:srgbClr>
              </a:gs>
              <a:gs pos="0">
                <a:srgbClr val="0971CA">
                  <a:alpha val="0"/>
                </a:srgbClr>
              </a:gs>
              <a:gs pos="100000">
                <a:srgbClr val="0971CA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defRPr/>
            </a:pPr>
            <a:r>
              <a:rPr kumimoji="0" lang="zh-CN" altLang="en-US" sz="1600" b="1" i="0" u="none" strike="noStrike" kern="1200" cap="none" spc="-10" normalizeH="0" baseline="0" noProof="0">
                <a:ln>
                  <a:noFill/>
                </a:ln>
                <a:solidFill>
                  <a:srgbClr val="0971C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效提升公共健康水平</a:t>
            </a:r>
            <a:endParaRPr kumimoji="0" lang="zh-CN" altLang="en-US" sz="1600" b="1" i="0" u="none" strike="noStrike" kern="1200" cap="none" spc="-10" normalizeH="0" baseline="0" noProof="0">
              <a:ln>
                <a:noFill/>
              </a:ln>
              <a:solidFill>
                <a:srgbClr val="0971C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7" name="文本框 76"/>
          <p:cNvSpPr txBox="1"/>
          <p:nvPr>
            <p:custDataLst>
              <p:tags r:id="rId8"/>
            </p:custDataLst>
          </p:nvPr>
        </p:nvSpPr>
        <p:spPr>
          <a:xfrm>
            <a:off x="610235" y="5046980"/>
            <a:ext cx="4281170" cy="124015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本品可有效减少门诊就诊率与复诊频次，节省大量医疗资源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针对超说明书用药现象，减少潜在用药安全风险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b="1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帮助眼科建立安全有效的治疗药物诊疗体系</a:t>
            </a:r>
            <a:endParaRPr lang="zh-CN" altLang="en-US" sz="1400" b="1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80" name="椭圆 79"/>
          <p:cNvSpPr/>
          <p:nvPr/>
        </p:nvSpPr>
        <p:spPr>
          <a:xfrm>
            <a:off x="7601738" y="3495481"/>
            <a:ext cx="370753" cy="370753"/>
          </a:xfrm>
          <a:prstGeom prst="ellipse">
            <a:avLst/>
          </a:prstGeom>
          <a:solidFill>
            <a:srgbClr val="0971CA"/>
          </a:solidFill>
          <a:ln w="63500">
            <a:solidFill>
              <a:srgbClr val="0971CA">
                <a:alpha val="1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FFFF"/>
              </a:buClr>
              <a:buSzPct val="100000"/>
            </a:pPr>
            <a:endParaRPr lang="zh-CN" altLang="en-US" sz="1600" b="1" spc="-1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2" name="文本框 81"/>
          <p:cNvSpPr txBox="1"/>
          <p:nvPr/>
        </p:nvSpPr>
        <p:spPr>
          <a:xfrm>
            <a:off x="8092591" y="3511580"/>
            <a:ext cx="3553828" cy="337185"/>
          </a:xfrm>
          <a:prstGeom prst="rect">
            <a:avLst/>
          </a:prstGeom>
          <a:gradFill>
            <a:gsLst>
              <a:gs pos="11000">
                <a:srgbClr val="0971CA">
                  <a:alpha val="10000"/>
                </a:srgbClr>
              </a:gs>
              <a:gs pos="0">
                <a:srgbClr val="0971CA">
                  <a:alpha val="0"/>
                </a:srgbClr>
              </a:gs>
              <a:gs pos="100000">
                <a:srgbClr val="0971CA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defRPr/>
            </a:pPr>
            <a:r>
              <a:rPr lang="zh-CN" altLang="en-US" sz="1600" b="1" spc="-10" noProof="0">
                <a:ln>
                  <a:noFill/>
                </a:ln>
                <a:solidFill>
                  <a:srgbClr val="0971C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符合“保基本”原则</a:t>
            </a:r>
            <a:endParaRPr lang="zh-CN" altLang="en-US" sz="1600" b="1" spc="-10" noProof="0">
              <a:ln>
                <a:noFill/>
              </a:ln>
              <a:solidFill>
                <a:srgbClr val="0971C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97" name="任意多边形: 形状 96"/>
          <p:cNvSpPr/>
          <p:nvPr/>
        </p:nvSpPr>
        <p:spPr>
          <a:xfrm>
            <a:off x="750515" y="3635877"/>
            <a:ext cx="236417" cy="224581"/>
          </a:xfrm>
          <a:custGeom>
            <a:avLst/>
            <a:gdLst>
              <a:gd name="csX0" fmla="*/ 206332 w 236417"/>
              <a:gd name="csY0" fmla="*/ 181569 h 224581"/>
              <a:gd name="csX1" fmla="*/ 194016 w 236417"/>
              <a:gd name="csY1" fmla="*/ 192962 h 224581"/>
              <a:gd name="csX2" fmla="*/ 206675 w 236417"/>
              <a:gd name="csY2" fmla="*/ 206648 h 224581"/>
              <a:gd name="csX3" fmla="*/ 212213 w 236417"/>
              <a:gd name="csY3" fmla="*/ 209180 h 224581"/>
              <a:gd name="csX4" fmla="*/ 217936 w 236417"/>
              <a:gd name="csY4" fmla="*/ 207097 h 224581"/>
              <a:gd name="csX5" fmla="*/ 218542 w 236417"/>
              <a:gd name="csY5" fmla="*/ 206543 h 224581"/>
              <a:gd name="csX6" fmla="*/ 221074 w 236417"/>
              <a:gd name="csY6" fmla="*/ 201005 h 224581"/>
              <a:gd name="csX7" fmla="*/ 218990 w 236417"/>
              <a:gd name="csY7" fmla="*/ 195256 h 224581"/>
              <a:gd name="csX8" fmla="*/ 176558 w 236417"/>
              <a:gd name="csY8" fmla="*/ 152877 h 224581"/>
              <a:gd name="csX9" fmla="*/ 170836 w 236417"/>
              <a:gd name="csY9" fmla="*/ 154960 h 224581"/>
              <a:gd name="csX10" fmla="*/ 170229 w 236417"/>
              <a:gd name="csY10" fmla="*/ 155514 h 224581"/>
              <a:gd name="csX11" fmla="*/ 167698 w 236417"/>
              <a:gd name="csY11" fmla="*/ 161052 h 224581"/>
              <a:gd name="csX12" fmla="*/ 169781 w 236417"/>
              <a:gd name="csY12" fmla="*/ 166775 h 224581"/>
              <a:gd name="csX13" fmla="*/ 183019 w 236417"/>
              <a:gd name="csY13" fmla="*/ 181094 h 224581"/>
              <a:gd name="csX14" fmla="*/ 195335 w 236417"/>
              <a:gd name="csY14" fmla="*/ 169702 h 224581"/>
              <a:gd name="csX15" fmla="*/ 182096 w 236417"/>
              <a:gd name="csY15" fmla="*/ 155408 h 224581"/>
              <a:gd name="csX16" fmla="*/ 176558 w 236417"/>
              <a:gd name="csY16" fmla="*/ 152877 h 224581"/>
              <a:gd name="csX17" fmla="*/ 110972 w 236417"/>
              <a:gd name="csY17" fmla="*/ 88978 h 224581"/>
              <a:gd name="csX18" fmla="*/ 118646 w 236417"/>
              <a:gd name="csY18" fmla="*/ 96652 h 224581"/>
              <a:gd name="csX19" fmla="*/ 118646 w 236417"/>
              <a:gd name="csY19" fmla="*/ 128087 h 224581"/>
              <a:gd name="csX20" fmla="*/ 145203 w 236417"/>
              <a:gd name="csY20" fmla="*/ 128087 h 224581"/>
              <a:gd name="csX21" fmla="*/ 152903 w 236417"/>
              <a:gd name="csY21" fmla="*/ 135761 h 224581"/>
              <a:gd name="csX22" fmla="*/ 145229 w 236417"/>
              <a:gd name="csY22" fmla="*/ 143436 h 224581"/>
              <a:gd name="csX23" fmla="*/ 118673 w 236417"/>
              <a:gd name="csY23" fmla="*/ 143436 h 224581"/>
              <a:gd name="csX24" fmla="*/ 118673 w 236417"/>
              <a:gd name="csY24" fmla="*/ 174871 h 224581"/>
              <a:gd name="csX25" fmla="*/ 110999 w 236417"/>
              <a:gd name="csY25" fmla="*/ 182545 h 224581"/>
              <a:gd name="csX26" fmla="*/ 103324 w 236417"/>
              <a:gd name="csY26" fmla="*/ 174871 h 224581"/>
              <a:gd name="csX27" fmla="*/ 103324 w 236417"/>
              <a:gd name="csY27" fmla="*/ 143436 h 224581"/>
              <a:gd name="csX28" fmla="*/ 76768 w 236417"/>
              <a:gd name="csY28" fmla="*/ 143436 h 224581"/>
              <a:gd name="csX29" fmla="*/ 69094 w 236417"/>
              <a:gd name="csY29" fmla="*/ 135761 h 224581"/>
              <a:gd name="csX30" fmla="*/ 76768 w 236417"/>
              <a:gd name="csY30" fmla="*/ 128087 h 224581"/>
              <a:gd name="csX31" fmla="*/ 103298 w 236417"/>
              <a:gd name="csY31" fmla="*/ 128087 h 224581"/>
              <a:gd name="csX32" fmla="*/ 103298 w 236417"/>
              <a:gd name="csY32" fmla="*/ 96652 h 224581"/>
              <a:gd name="csX33" fmla="*/ 110972 w 236417"/>
              <a:gd name="csY33" fmla="*/ 88978 h 224581"/>
              <a:gd name="csX34" fmla="*/ 35074 w 236417"/>
              <a:gd name="csY34" fmla="*/ 53904 h 224581"/>
              <a:gd name="csX35" fmla="*/ 15348 w 236417"/>
              <a:gd name="csY35" fmla="*/ 73287 h 224581"/>
              <a:gd name="csX36" fmla="*/ 15348 w 236417"/>
              <a:gd name="csY36" fmla="*/ 188215 h 224581"/>
              <a:gd name="csX37" fmla="*/ 35074 w 236417"/>
              <a:gd name="csY37" fmla="*/ 207598 h 224581"/>
              <a:gd name="csX38" fmla="*/ 178985 w 236417"/>
              <a:gd name="csY38" fmla="*/ 207598 h 224581"/>
              <a:gd name="csX39" fmla="*/ 185525 w 236417"/>
              <a:gd name="csY39" fmla="*/ 206464 h 224581"/>
              <a:gd name="csX40" fmla="*/ 177007 w 236417"/>
              <a:gd name="csY40" fmla="*/ 197260 h 224581"/>
              <a:gd name="csX41" fmla="*/ 171706 w 236417"/>
              <a:gd name="csY41" fmla="*/ 191538 h 224581"/>
              <a:gd name="csX42" fmla="*/ 158467 w 236417"/>
              <a:gd name="csY42" fmla="*/ 177244 h 224581"/>
              <a:gd name="csX43" fmla="*/ 152296 w 236417"/>
              <a:gd name="csY43" fmla="*/ 160498 h 224581"/>
              <a:gd name="csX44" fmla="*/ 159760 w 236417"/>
              <a:gd name="csY44" fmla="*/ 144279 h 224581"/>
              <a:gd name="csX45" fmla="*/ 160366 w 236417"/>
              <a:gd name="csY45" fmla="*/ 143726 h 224581"/>
              <a:gd name="csX46" fmla="*/ 177112 w 236417"/>
              <a:gd name="csY46" fmla="*/ 137555 h 224581"/>
              <a:gd name="csX47" fmla="*/ 193331 w 236417"/>
              <a:gd name="csY47" fmla="*/ 144991 h 224581"/>
              <a:gd name="csX48" fmla="*/ 198711 w 236417"/>
              <a:gd name="csY48" fmla="*/ 150793 h 224581"/>
              <a:gd name="csX49" fmla="*/ 198711 w 236417"/>
              <a:gd name="csY49" fmla="*/ 73287 h 224581"/>
              <a:gd name="csX50" fmla="*/ 178985 w 236417"/>
              <a:gd name="csY50" fmla="*/ 53904 h 224581"/>
              <a:gd name="csX51" fmla="*/ 147892 w 236417"/>
              <a:gd name="csY51" fmla="*/ 53904 h 224581"/>
              <a:gd name="csX52" fmla="*/ 147892 w 236417"/>
              <a:gd name="csY52" fmla="*/ 58413 h 224581"/>
              <a:gd name="csX53" fmla="*/ 140218 w 236417"/>
              <a:gd name="csY53" fmla="*/ 66087 h 224581"/>
              <a:gd name="csX54" fmla="*/ 132544 w 236417"/>
              <a:gd name="csY54" fmla="*/ 58413 h 224581"/>
              <a:gd name="csX55" fmla="*/ 132544 w 236417"/>
              <a:gd name="csY55" fmla="*/ 53904 h 224581"/>
              <a:gd name="csX56" fmla="*/ 83598 w 236417"/>
              <a:gd name="csY56" fmla="*/ 53904 h 224581"/>
              <a:gd name="csX57" fmla="*/ 83598 w 236417"/>
              <a:gd name="csY57" fmla="*/ 58413 h 224581"/>
              <a:gd name="csX58" fmla="*/ 75924 w 236417"/>
              <a:gd name="csY58" fmla="*/ 66087 h 224581"/>
              <a:gd name="csX59" fmla="*/ 68250 w 236417"/>
              <a:gd name="csY59" fmla="*/ 58413 h 224581"/>
              <a:gd name="csX60" fmla="*/ 68250 w 236417"/>
              <a:gd name="csY60" fmla="*/ 53904 h 224581"/>
              <a:gd name="csX61" fmla="*/ 108071 w 236417"/>
              <a:gd name="csY61" fmla="*/ 15348 h 224581"/>
              <a:gd name="csX62" fmla="*/ 83730 w 236417"/>
              <a:gd name="csY62" fmla="*/ 38555 h 224581"/>
              <a:gd name="csX63" fmla="*/ 132412 w 236417"/>
              <a:gd name="csY63" fmla="*/ 38555 h 224581"/>
              <a:gd name="csX64" fmla="*/ 108071 w 236417"/>
              <a:gd name="csY64" fmla="*/ 15348 h 224581"/>
              <a:gd name="csX65" fmla="*/ 108071 w 236417"/>
              <a:gd name="csY65" fmla="*/ 0 h 224581"/>
              <a:gd name="csX66" fmla="*/ 147761 w 236417"/>
              <a:gd name="csY66" fmla="*/ 38555 h 224581"/>
              <a:gd name="csX67" fmla="*/ 179011 w 236417"/>
              <a:gd name="csY67" fmla="*/ 38555 h 224581"/>
              <a:gd name="csX68" fmla="*/ 214085 w 236417"/>
              <a:gd name="csY68" fmla="*/ 73287 h 224581"/>
              <a:gd name="csX69" fmla="*/ 214085 w 236417"/>
              <a:gd name="csY69" fmla="*/ 166775 h 224581"/>
              <a:gd name="csX70" fmla="*/ 213980 w 236417"/>
              <a:gd name="csY70" fmla="*/ 167276 h 224581"/>
              <a:gd name="csX71" fmla="*/ 217593 w 236417"/>
              <a:gd name="csY71" fmla="*/ 171179 h 224581"/>
              <a:gd name="csX72" fmla="*/ 230251 w 236417"/>
              <a:gd name="csY72" fmla="*/ 184865 h 224581"/>
              <a:gd name="csX73" fmla="*/ 236396 w 236417"/>
              <a:gd name="csY73" fmla="*/ 201638 h 224581"/>
              <a:gd name="csX74" fmla="*/ 228959 w 236417"/>
              <a:gd name="csY74" fmla="*/ 217856 h 224581"/>
              <a:gd name="csX75" fmla="*/ 228352 w 236417"/>
              <a:gd name="csY75" fmla="*/ 218410 h 224581"/>
              <a:gd name="csX76" fmla="*/ 212556 w 236417"/>
              <a:gd name="csY76" fmla="*/ 224581 h 224581"/>
              <a:gd name="csX77" fmla="*/ 211606 w 236417"/>
              <a:gd name="csY77" fmla="*/ 224555 h 224581"/>
              <a:gd name="csX78" fmla="*/ 196627 w 236417"/>
              <a:gd name="csY78" fmla="*/ 218199 h 224581"/>
              <a:gd name="csX79" fmla="*/ 178985 w 236417"/>
              <a:gd name="csY79" fmla="*/ 222973 h 224581"/>
              <a:gd name="csX80" fmla="*/ 35074 w 236417"/>
              <a:gd name="csY80" fmla="*/ 222973 h 224581"/>
              <a:gd name="csX81" fmla="*/ 0 w 236417"/>
              <a:gd name="csY81" fmla="*/ 188241 h 224581"/>
              <a:gd name="csX82" fmla="*/ 0 w 236417"/>
              <a:gd name="csY82" fmla="*/ 73287 h 224581"/>
              <a:gd name="csX83" fmla="*/ 35074 w 236417"/>
              <a:gd name="csY83" fmla="*/ 38555 h 224581"/>
              <a:gd name="csX84" fmla="*/ 68382 w 236417"/>
              <a:gd name="csY84" fmla="*/ 38555 h 224581"/>
              <a:gd name="csX85" fmla="*/ 108071 w 236417"/>
              <a:gd name="csY85" fmla="*/ 0 h 22458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  <a:cxn ang="0">
                <a:pos x="csX57" y="csY57"/>
              </a:cxn>
              <a:cxn ang="0">
                <a:pos x="csX58" y="csY58"/>
              </a:cxn>
              <a:cxn ang="0">
                <a:pos x="csX59" y="csY59"/>
              </a:cxn>
              <a:cxn ang="0">
                <a:pos x="csX60" y="csY60"/>
              </a:cxn>
              <a:cxn ang="0">
                <a:pos x="csX61" y="csY61"/>
              </a:cxn>
              <a:cxn ang="0">
                <a:pos x="csX62" y="csY62"/>
              </a:cxn>
              <a:cxn ang="0">
                <a:pos x="csX63" y="csY63"/>
              </a:cxn>
              <a:cxn ang="0">
                <a:pos x="csX64" y="csY64"/>
              </a:cxn>
              <a:cxn ang="0">
                <a:pos x="csX65" y="csY65"/>
              </a:cxn>
              <a:cxn ang="0">
                <a:pos x="csX66" y="csY66"/>
              </a:cxn>
              <a:cxn ang="0">
                <a:pos x="csX67" y="csY67"/>
              </a:cxn>
              <a:cxn ang="0">
                <a:pos x="csX68" y="csY68"/>
              </a:cxn>
              <a:cxn ang="0">
                <a:pos x="csX69" y="csY69"/>
              </a:cxn>
              <a:cxn ang="0">
                <a:pos x="csX70" y="csY70"/>
              </a:cxn>
              <a:cxn ang="0">
                <a:pos x="csX71" y="csY71"/>
              </a:cxn>
              <a:cxn ang="0">
                <a:pos x="csX72" y="csY72"/>
              </a:cxn>
              <a:cxn ang="0">
                <a:pos x="csX73" y="csY73"/>
              </a:cxn>
              <a:cxn ang="0">
                <a:pos x="csX74" y="csY74"/>
              </a:cxn>
              <a:cxn ang="0">
                <a:pos x="csX75" y="csY75"/>
              </a:cxn>
              <a:cxn ang="0">
                <a:pos x="csX76" y="csY76"/>
              </a:cxn>
              <a:cxn ang="0">
                <a:pos x="csX77" y="csY77"/>
              </a:cxn>
              <a:cxn ang="0">
                <a:pos x="csX78" y="csY78"/>
              </a:cxn>
              <a:cxn ang="0">
                <a:pos x="csX79" y="csY79"/>
              </a:cxn>
              <a:cxn ang="0">
                <a:pos x="csX80" y="csY80"/>
              </a:cxn>
              <a:cxn ang="0">
                <a:pos x="csX81" y="csY81"/>
              </a:cxn>
              <a:cxn ang="0">
                <a:pos x="csX82" y="csY82"/>
              </a:cxn>
              <a:cxn ang="0">
                <a:pos x="csX83" y="csY83"/>
              </a:cxn>
              <a:cxn ang="0">
                <a:pos x="csX84" y="csY84"/>
              </a:cxn>
              <a:cxn ang="0">
                <a:pos x="csX85" y="csY85"/>
              </a:cxn>
            </a:cxnLst>
            <a:rect l="l" t="t" r="r" b="b"/>
            <a:pathLst>
              <a:path w="236417" h="224581">
                <a:moveTo>
                  <a:pt x="206332" y="181569"/>
                </a:moveTo>
                <a:lnTo>
                  <a:pt x="194016" y="192962"/>
                </a:lnTo>
                <a:lnTo>
                  <a:pt x="206675" y="206648"/>
                </a:lnTo>
                <a:cubicBezTo>
                  <a:pt x="208099" y="208204"/>
                  <a:pt x="210077" y="209101"/>
                  <a:pt x="212213" y="209180"/>
                </a:cubicBezTo>
                <a:cubicBezTo>
                  <a:pt x="214349" y="209286"/>
                  <a:pt x="216380" y="208521"/>
                  <a:pt x="217936" y="207097"/>
                </a:cubicBezTo>
                <a:lnTo>
                  <a:pt x="218542" y="206543"/>
                </a:lnTo>
                <a:cubicBezTo>
                  <a:pt x="220098" y="205119"/>
                  <a:pt x="220995" y="203141"/>
                  <a:pt x="221074" y="201005"/>
                </a:cubicBezTo>
                <a:cubicBezTo>
                  <a:pt x="221153" y="198869"/>
                  <a:pt x="220415" y="196838"/>
                  <a:pt x="218990" y="195256"/>
                </a:cubicBezTo>
                <a:close/>
                <a:moveTo>
                  <a:pt x="176558" y="152877"/>
                </a:moveTo>
                <a:cubicBezTo>
                  <a:pt x="174396" y="152771"/>
                  <a:pt x="172392" y="153536"/>
                  <a:pt x="170836" y="154960"/>
                </a:cubicBezTo>
                <a:lnTo>
                  <a:pt x="170229" y="155514"/>
                </a:lnTo>
                <a:cubicBezTo>
                  <a:pt x="168673" y="156938"/>
                  <a:pt x="167777" y="158916"/>
                  <a:pt x="167698" y="161052"/>
                </a:cubicBezTo>
                <a:cubicBezTo>
                  <a:pt x="167592" y="163188"/>
                  <a:pt x="168357" y="165219"/>
                  <a:pt x="169781" y="166775"/>
                </a:cubicBezTo>
                <a:lnTo>
                  <a:pt x="183019" y="181094"/>
                </a:lnTo>
                <a:lnTo>
                  <a:pt x="195335" y="169702"/>
                </a:lnTo>
                <a:lnTo>
                  <a:pt x="182096" y="155408"/>
                </a:lnTo>
                <a:cubicBezTo>
                  <a:pt x="180672" y="153852"/>
                  <a:pt x="178695" y="152956"/>
                  <a:pt x="176558" y="152877"/>
                </a:cubicBezTo>
                <a:close/>
                <a:moveTo>
                  <a:pt x="110972" y="88978"/>
                </a:moveTo>
                <a:cubicBezTo>
                  <a:pt x="115218" y="88978"/>
                  <a:pt x="118646" y="92406"/>
                  <a:pt x="118646" y="96652"/>
                </a:cubicBezTo>
                <a:lnTo>
                  <a:pt x="118646" y="128087"/>
                </a:lnTo>
                <a:lnTo>
                  <a:pt x="145203" y="128087"/>
                </a:lnTo>
                <a:cubicBezTo>
                  <a:pt x="149449" y="128087"/>
                  <a:pt x="152877" y="131516"/>
                  <a:pt x="152903" y="135761"/>
                </a:cubicBezTo>
                <a:cubicBezTo>
                  <a:pt x="152903" y="140007"/>
                  <a:pt x="149475" y="143436"/>
                  <a:pt x="145229" y="143436"/>
                </a:cubicBezTo>
                <a:lnTo>
                  <a:pt x="118673" y="143436"/>
                </a:lnTo>
                <a:lnTo>
                  <a:pt x="118673" y="174871"/>
                </a:lnTo>
                <a:cubicBezTo>
                  <a:pt x="118673" y="179116"/>
                  <a:pt x="115244" y="182545"/>
                  <a:pt x="110999" y="182545"/>
                </a:cubicBezTo>
                <a:cubicBezTo>
                  <a:pt x="106753" y="182545"/>
                  <a:pt x="103324" y="179116"/>
                  <a:pt x="103324" y="174871"/>
                </a:cubicBezTo>
                <a:lnTo>
                  <a:pt x="103324" y="143436"/>
                </a:lnTo>
                <a:lnTo>
                  <a:pt x="76768" y="143436"/>
                </a:lnTo>
                <a:cubicBezTo>
                  <a:pt x="72522" y="143436"/>
                  <a:pt x="69094" y="140007"/>
                  <a:pt x="69094" y="135761"/>
                </a:cubicBezTo>
                <a:cubicBezTo>
                  <a:pt x="69094" y="131516"/>
                  <a:pt x="72522" y="128087"/>
                  <a:pt x="76768" y="128087"/>
                </a:cubicBezTo>
                <a:lnTo>
                  <a:pt x="103298" y="128087"/>
                </a:lnTo>
                <a:lnTo>
                  <a:pt x="103298" y="96652"/>
                </a:lnTo>
                <a:cubicBezTo>
                  <a:pt x="103298" y="92406"/>
                  <a:pt x="106726" y="88978"/>
                  <a:pt x="110972" y="88978"/>
                </a:cubicBezTo>
                <a:close/>
                <a:moveTo>
                  <a:pt x="35074" y="53904"/>
                </a:moveTo>
                <a:cubicBezTo>
                  <a:pt x="24209" y="53904"/>
                  <a:pt x="15348" y="62606"/>
                  <a:pt x="15348" y="73287"/>
                </a:cubicBezTo>
                <a:lnTo>
                  <a:pt x="15348" y="188215"/>
                </a:lnTo>
                <a:cubicBezTo>
                  <a:pt x="15348" y="198895"/>
                  <a:pt x="24183" y="207598"/>
                  <a:pt x="35074" y="207598"/>
                </a:cubicBezTo>
                <a:lnTo>
                  <a:pt x="178985" y="207598"/>
                </a:lnTo>
                <a:cubicBezTo>
                  <a:pt x="181253" y="207598"/>
                  <a:pt x="183468" y="207176"/>
                  <a:pt x="185525" y="206464"/>
                </a:cubicBezTo>
                <a:lnTo>
                  <a:pt x="177007" y="197260"/>
                </a:lnTo>
                <a:lnTo>
                  <a:pt x="171706" y="191538"/>
                </a:lnTo>
                <a:lnTo>
                  <a:pt x="158467" y="177244"/>
                </a:lnTo>
                <a:cubicBezTo>
                  <a:pt x="154248" y="172682"/>
                  <a:pt x="152059" y="166748"/>
                  <a:pt x="152296" y="160498"/>
                </a:cubicBezTo>
                <a:cubicBezTo>
                  <a:pt x="152560" y="154248"/>
                  <a:pt x="155197" y="148499"/>
                  <a:pt x="159760" y="144279"/>
                </a:cubicBezTo>
                <a:lnTo>
                  <a:pt x="160366" y="143726"/>
                </a:lnTo>
                <a:cubicBezTo>
                  <a:pt x="164928" y="139506"/>
                  <a:pt x="170836" y="137396"/>
                  <a:pt x="177112" y="137555"/>
                </a:cubicBezTo>
                <a:cubicBezTo>
                  <a:pt x="183362" y="137792"/>
                  <a:pt x="189111" y="140429"/>
                  <a:pt x="193331" y="144991"/>
                </a:cubicBezTo>
                <a:lnTo>
                  <a:pt x="198711" y="150793"/>
                </a:lnTo>
                <a:lnTo>
                  <a:pt x="198711" y="73287"/>
                </a:lnTo>
                <a:cubicBezTo>
                  <a:pt x="198711" y="62606"/>
                  <a:pt x="189876" y="53904"/>
                  <a:pt x="178985" y="53904"/>
                </a:cubicBezTo>
                <a:lnTo>
                  <a:pt x="147892" y="53904"/>
                </a:lnTo>
                <a:lnTo>
                  <a:pt x="147892" y="58413"/>
                </a:lnTo>
                <a:cubicBezTo>
                  <a:pt x="147892" y="62659"/>
                  <a:pt x="144464" y="66087"/>
                  <a:pt x="140218" y="66087"/>
                </a:cubicBezTo>
                <a:cubicBezTo>
                  <a:pt x="135972" y="66087"/>
                  <a:pt x="132544" y="62659"/>
                  <a:pt x="132544" y="58413"/>
                </a:cubicBezTo>
                <a:lnTo>
                  <a:pt x="132544" y="53904"/>
                </a:lnTo>
                <a:lnTo>
                  <a:pt x="83598" y="53904"/>
                </a:lnTo>
                <a:lnTo>
                  <a:pt x="83598" y="58413"/>
                </a:lnTo>
                <a:cubicBezTo>
                  <a:pt x="83598" y="62659"/>
                  <a:pt x="80170" y="66087"/>
                  <a:pt x="75924" y="66087"/>
                </a:cubicBezTo>
                <a:cubicBezTo>
                  <a:pt x="71678" y="66087"/>
                  <a:pt x="68250" y="62659"/>
                  <a:pt x="68250" y="58413"/>
                </a:cubicBezTo>
                <a:lnTo>
                  <a:pt x="68250" y="53904"/>
                </a:lnTo>
                <a:close/>
                <a:moveTo>
                  <a:pt x="108071" y="15348"/>
                </a:moveTo>
                <a:cubicBezTo>
                  <a:pt x="95017" y="15348"/>
                  <a:pt x="84389" y="25660"/>
                  <a:pt x="83730" y="38555"/>
                </a:cubicBezTo>
                <a:lnTo>
                  <a:pt x="132412" y="38555"/>
                </a:lnTo>
                <a:cubicBezTo>
                  <a:pt x="131753" y="25660"/>
                  <a:pt x="121125" y="15348"/>
                  <a:pt x="108071" y="15348"/>
                </a:cubicBezTo>
                <a:close/>
                <a:moveTo>
                  <a:pt x="108071" y="0"/>
                </a:moveTo>
                <a:cubicBezTo>
                  <a:pt x="129590" y="0"/>
                  <a:pt x="147075" y="17194"/>
                  <a:pt x="147761" y="38555"/>
                </a:cubicBezTo>
                <a:lnTo>
                  <a:pt x="179011" y="38555"/>
                </a:lnTo>
                <a:cubicBezTo>
                  <a:pt x="198341" y="38555"/>
                  <a:pt x="214085" y="54141"/>
                  <a:pt x="214085" y="73287"/>
                </a:cubicBezTo>
                <a:lnTo>
                  <a:pt x="214085" y="166775"/>
                </a:lnTo>
                <a:cubicBezTo>
                  <a:pt x="214085" y="166959"/>
                  <a:pt x="213980" y="167091"/>
                  <a:pt x="213980" y="167276"/>
                </a:cubicBezTo>
                <a:lnTo>
                  <a:pt x="217593" y="171179"/>
                </a:lnTo>
                <a:lnTo>
                  <a:pt x="230251" y="184865"/>
                </a:lnTo>
                <a:cubicBezTo>
                  <a:pt x="234471" y="189428"/>
                  <a:pt x="236659" y="195361"/>
                  <a:pt x="236396" y="201638"/>
                </a:cubicBezTo>
                <a:cubicBezTo>
                  <a:pt x="236158" y="207888"/>
                  <a:pt x="233521" y="213637"/>
                  <a:pt x="228959" y="217856"/>
                </a:cubicBezTo>
                <a:lnTo>
                  <a:pt x="228352" y="218410"/>
                </a:lnTo>
                <a:cubicBezTo>
                  <a:pt x="224027" y="222392"/>
                  <a:pt x="218463" y="224581"/>
                  <a:pt x="212556" y="224581"/>
                </a:cubicBezTo>
                <a:cubicBezTo>
                  <a:pt x="212239" y="224581"/>
                  <a:pt x="211923" y="224555"/>
                  <a:pt x="211606" y="224555"/>
                </a:cubicBezTo>
                <a:cubicBezTo>
                  <a:pt x="205936" y="224344"/>
                  <a:pt x="200715" y="222050"/>
                  <a:pt x="196627" y="218199"/>
                </a:cubicBezTo>
                <a:cubicBezTo>
                  <a:pt x="191300" y="221285"/>
                  <a:pt x="185235" y="222973"/>
                  <a:pt x="178985" y="222973"/>
                </a:cubicBezTo>
                <a:lnTo>
                  <a:pt x="35074" y="222973"/>
                </a:lnTo>
                <a:cubicBezTo>
                  <a:pt x="15744" y="222973"/>
                  <a:pt x="0" y="207387"/>
                  <a:pt x="0" y="188241"/>
                </a:cubicBezTo>
                <a:lnTo>
                  <a:pt x="0" y="73287"/>
                </a:lnTo>
                <a:cubicBezTo>
                  <a:pt x="0" y="54141"/>
                  <a:pt x="15718" y="38555"/>
                  <a:pt x="35074" y="38555"/>
                </a:cubicBezTo>
                <a:lnTo>
                  <a:pt x="68382" y="38555"/>
                </a:lnTo>
                <a:cubicBezTo>
                  <a:pt x="69067" y="17194"/>
                  <a:pt x="86552" y="0"/>
                  <a:pt x="108071" y="0"/>
                </a:cubicBezTo>
                <a:close/>
              </a:path>
            </a:pathLst>
          </a:custGeom>
          <a:solidFill>
            <a:schemeClr val="bg1"/>
          </a:solidFill>
          <a:ln w="260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98" name="文本框 97"/>
          <p:cNvSpPr txBox="1"/>
          <p:nvPr>
            <p:custDataLst>
              <p:tags r:id="rId9"/>
            </p:custDataLst>
          </p:nvPr>
        </p:nvSpPr>
        <p:spPr>
          <a:xfrm>
            <a:off x="7472045" y="3927475"/>
            <a:ext cx="4074795" cy="23876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适本品严格契合医保 “保基本” 原则。面向普通人群及低龄幼儿等基础诊疗群体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相比现有联合用药方案，本品</a:t>
            </a:r>
            <a:r>
              <a:rPr lang="zh-CN" altLang="en-US" sz="1400" b="1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单药即可完成治疗，精简方案、降低患者用药总成本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药品安全性优异，可减少不良反应及后续就医支出，有效控制医保基金负担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 algn="l">
              <a:lnSpc>
                <a:spcPct val="130000"/>
              </a:lnSpc>
              <a:spcBef>
                <a:spcPts val="0"/>
              </a:spcBef>
              <a:buClr>
                <a:srgbClr val="0971CA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40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同时补齐目录刚需用药缺口，提升基层常见病用药保障水平</a:t>
            </a:r>
            <a:endParaRPr lang="zh-CN" altLang="en-US" sz="1400" noProof="0" dirty="0">
              <a:ln>
                <a:noFill/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0" scaled="0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17" name="任意多边形: 形状 116"/>
          <p:cNvSpPr/>
          <p:nvPr/>
        </p:nvSpPr>
        <p:spPr>
          <a:xfrm>
            <a:off x="7686367" y="3572141"/>
            <a:ext cx="201495" cy="217432"/>
          </a:xfrm>
          <a:custGeom>
            <a:avLst/>
            <a:gdLst>
              <a:gd name="csX0" fmla="*/ 45019 w 268126"/>
              <a:gd name="csY0" fmla="*/ 159570 h 289333"/>
              <a:gd name="csX1" fmla="*/ 91992 w 268126"/>
              <a:gd name="csY1" fmla="*/ 159570 h 289333"/>
              <a:gd name="csX2" fmla="*/ 99553 w 268126"/>
              <a:gd name="csY2" fmla="*/ 167130 h 289333"/>
              <a:gd name="csX3" fmla="*/ 91992 w 268126"/>
              <a:gd name="csY3" fmla="*/ 174691 h 289333"/>
              <a:gd name="csX4" fmla="*/ 45019 w 268126"/>
              <a:gd name="csY4" fmla="*/ 174691 h 289333"/>
              <a:gd name="csX5" fmla="*/ 37458 w 268126"/>
              <a:gd name="csY5" fmla="*/ 167130 h 289333"/>
              <a:gd name="csX6" fmla="*/ 45019 w 268126"/>
              <a:gd name="csY6" fmla="*/ 159570 h 289333"/>
              <a:gd name="csX7" fmla="*/ 231784 w 268126"/>
              <a:gd name="csY7" fmla="*/ 141689 h 289333"/>
              <a:gd name="csX8" fmla="*/ 264744 w 268126"/>
              <a:gd name="csY8" fmla="*/ 163563 h 289333"/>
              <a:gd name="csX9" fmla="*/ 266868 w 268126"/>
              <a:gd name="csY9" fmla="*/ 174038 h 289333"/>
              <a:gd name="csX10" fmla="*/ 266860 w 268126"/>
              <a:gd name="csY10" fmla="*/ 174049 h 289333"/>
              <a:gd name="csX11" fmla="*/ 204208 w 268126"/>
              <a:gd name="csY11" fmla="*/ 268652 h 289333"/>
              <a:gd name="csX12" fmla="*/ 201082 w 268126"/>
              <a:gd name="csY12" fmla="*/ 271326 h 289333"/>
              <a:gd name="csX13" fmla="*/ 166761 w 268126"/>
              <a:gd name="csY13" fmla="*/ 287300 h 289333"/>
              <a:gd name="csX14" fmla="*/ 163585 w 268126"/>
              <a:gd name="csY14" fmla="*/ 288006 h 289333"/>
              <a:gd name="csX15" fmla="*/ 163578 w 268126"/>
              <a:gd name="csY15" fmla="*/ 288001 h 289333"/>
              <a:gd name="csX16" fmla="*/ 156017 w 268126"/>
              <a:gd name="csY16" fmla="*/ 280447 h 289333"/>
              <a:gd name="csX17" fmla="*/ 156021 w 268126"/>
              <a:gd name="csY17" fmla="*/ 280189 h 289333"/>
              <a:gd name="csX18" fmla="*/ 157334 w 268126"/>
              <a:gd name="csY18" fmla="*/ 242389 h 289333"/>
              <a:gd name="csX19" fmla="*/ 158597 w 268126"/>
              <a:gd name="csY19" fmla="*/ 238458 h 289333"/>
              <a:gd name="csX20" fmla="*/ 221298 w 268126"/>
              <a:gd name="csY20" fmla="*/ 143806 h 289333"/>
              <a:gd name="csX21" fmla="*/ 231784 w 268126"/>
              <a:gd name="csY21" fmla="*/ 141689 h 289333"/>
              <a:gd name="csX22" fmla="*/ 44984 w 268126"/>
              <a:gd name="csY22" fmla="*/ 109520 h 289333"/>
              <a:gd name="csX23" fmla="*/ 183469 w 268126"/>
              <a:gd name="csY23" fmla="*/ 109520 h 289333"/>
              <a:gd name="csX24" fmla="*/ 191030 w 268126"/>
              <a:gd name="csY24" fmla="*/ 117080 h 289333"/>
              <a:gd name="csX25" fmla="*/ 183469 w 268126"/>
              <a:gd name="csY25" fmla="*/ 124641 h 289333"/>
              <a:gd name="csX26" fmla="*/ 44984 w 268126"/>
              <a:gd name="csY26" fmla="*/ 124641 h 289333"/>
              <a:gd name="csX27" fmla="*/ 37423 w 268126"/>
              <a:gd name="csY27" fmla="*/ 117080 h 289333"/>
              <a:gd name="csX28" fmla="*/ 44984 w 268126"/>
              <a:gd name="csY28" fmla="*/ 109520 h 289333"/>
              <a:gd name="csX29" fmla="*/ 44984 w 268126"/>
              <a:gd name="csY29" fmla="*/ 59470 h 289333"/>
              <a:gd name="csX30" fmla="*/ 183469 w 268126"/>
              <a:gd name="csY30" fmla="*/ 59470 h 289333"/>
              <a:gd name="csX31" fmla="*/ 191030 w 268126"/>
              <a:gd name="csY31" fmla="*/ 67031 h 289333"/>
              <a:gd name="csX32" fmla="*/ 183469 w 268126"/>
              <a:gd name="csY32" fmla="*/ 74592 h 289333"/>
              <a:gd name="csX33" fmla="*/ 44984 w 268126"/>
              <a:gd name="csY33" fmla="*/ 74592 h 289333"/>
              <a:gd name="csX34" fmla="*/ 37423 w 268126"/>
              <a:gd name="csY34" fmla="*/ 67031 h 289333"/>
              <a:gd name="csX35" fmla="*/ 44984 w 268126"/>
              <a:gd name="csY35" fmla="*/ 59470 h 289333"/>
              <a:gd name="csX36" fmla="*/ 28359 w 268126"/>
              <a:gd name="csY36" fmla="*/ 0 h 289333"/>
              <a:gd name="csX37" fmla="*/ 239206 w 268126"/>
              <a:gd name="csY37" fmla="*/ 0 h 289333"/>
              <a:gd name="csX38" fmla="*/ 267565 w 268126"/>
              <a:gd name="csY38" fmla="*/ 28415 h 289333"/>
              <a:gd name="csX39" fmla="*/ 267565 w 268126"/>
              <a:gd name="csY39" fmla="*/ 126497 h 289333"/>
              <a:gd name="csX40" fmla="*/ 260493 w 268126"/>
              <a:gd name="csY40" fmla="*/ 134892 h 289333"/>
              <a:gd name="csX41" fmla="*/ 252098 w 268126"/>
              <a:gd name="csY41" fmla="*/ 127820 h 289333"/>
              <a:gd name="csX42" fmla="*/ 252098 w 268126"/>
              <a:gd name="csY42" fmla="*/ 126497 h 289333"/>
              <a:gd name="csX43" fmla="*/ 252098 w 268126"/>
              <a:gd name="csY43" fmla="*/ 28415 h 289333"/>
              <a:gd name="csX44" fmla="*/ 239206 w 268126"/>
              <a:gd name="csY44" fmla="*/ 15503 h 289333"/>
              <a:gd name="csX45" fmla="*/ 28345 w 268126"/>
              <a:gd name="csY45" fmla="*/ 15503 h 289333"/>
              <a:gd name="csX46" fmla="*/ 15453 w 268126"/>
              <a:gd name="csY46" fmla="*/ 28415 h 289333"/>
              <a:gd name="csX47" fmla="*/ 15453 w 268126"/>
              <a:gd name="csY47" fmla="*/ 260897 h 289333"/>
              <a:gd name="csX48" fmla="*/ 28345 w 268126"/>
              <a:gd name="csY48" fmla="*/ 273810 h 289333"/>
              <a:gd name="csX49" fmla="*/ 124613 w 268126"/>
              <a:gd name="csY49" fmla="*/ 273810 h 289333"/>
              <a:gd name="csX50" fmla="*/ 132373 w 268126"/>
              <a:gd name="csY50" fmla="*/ 281573 h 289333"/>
              <a:gd name="csX51" fmla="*/ 124613 w 268126"/>
              <a:gd name="csY51" fmla="*/ 289333 h 289333"/>
              <a:gd name="csX52" fmla="*/ 124613 w 268126"/>
              <a:gd name="csY52" fmla="*/ 289313 h 289333"/>
              <a:gd name="csX53" fmla="*/ 28345 w 268126"/>
              <a:gd name="csY53" fmla="*/ 289313 h 289333"/>
              <a:gd name="csX54" fmla="*/ 0 w 268126"/>
              <a:gd name="csY54" fmla="*/ 260897 h 289333"/>
              <a:gd name="csX55" fmla="*/ 0 w 268126"/>
              <a:gd name="csY55" fmla="*/ 28415 h 289333"/>
              <a:gd name="csX56" fmla="*/ 28359 w 268126"/>
              <a:gd name="csY56" fmla="*/ 0 h 2893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  <a:cxn ang="0">
                <a:pos x="csX51" y="csY51"/>
              </a:cxn>
              <a:cxn ang="0">
                <a:pos x="csX52" y="csY52"/>
              </a:cxn>
              <a:cxn ang="0">
                <a:pos x="csX53" y="csY53"/>
              </a:cxn>
              <a:cxn ang="0">
                <a:pos x="csX54" y="csY54"/>
              </a:cxn>
              <a:cxn ang="0">
                <a:pos x="csX55" y="csY55"/>
              </a:cxn>
              <a:cxn ang="0">
                <a:pos x="csX56" y="csY56"/>
              </a:cxn>
            </a:cxnLst>
            <a:rect l="l" t="t" r="r" b="b"/>
            <a:pathLst>
              <a:path w="268126" h="289333">
                <a:moveTo>
                  <a:pt x="45019" y="159570"/>
                </a:moveTo>
                <a:lnTo>
                  <a:pt x="91992" y="159570"/>
                </a:lnTo>
                <a:cubicBezTo>
                  <a:pt x="96168" y="159570"/>
                  <a:pt x="99553" y="162955"/>
                  <a:pt x="99553" y="167130"/>
                </a:cubicBezTo>
                <a:cubicBezTo>
                  <a:pt x="99553" y="171306"/>
                  <a:pt x="96168" y="174691"/>
                  <a:pt x="91992" y="174691"/>
                </a:cubicBezTo>
                <a:lnTo>
                  <a:pt x="45019" y="174691"/>
                </a:lnTo>
                <a:cubicBezTo>
                  <a:pt x="40844" y="174691"/>
                  <a:pt x="37458" y="171306"/>
                  <a:pt x="37458" y="167130"/>
                </a:cubicBezTo>
                <a:cubicBezTo>
                  <a:pt x="37458" y="162955"/>
                  <a:pt x="40844" y="159570"/>
                  <a:pt x="45019" y="159570"/>
                </a:cubicBezTo>
                <a:close/>
                <a:moveTo>
                  <a:pt x="231784" y="141689"/>
                </a:moveTo>
                <a:lnTo>
                  <a:pt x="264744" y="163563"/>
                </a:lnTo>
                <a:cubicBezTo>
                  <a:pt x="268222" y="165869"/>
                  <a:pt x="269174" y="170559"/>
                  <a:pt x="266868" y="174038"/>
                </a:cubicBezTo>
                <a:cubicBezTo>
                  <a:pt x="266865" y="174041"/>
                  <a:pt x="266863" y="174045"/>
                  <a:pt x="266860" y="174049"/>
                </a:cubicBezTo>
                <a:lnTo>
                  <a:pt x="204208" y="268652"/>
                </a:lnTo>
                <a:cubicBezTo>
                  <a:pt x="203444" y="269824"/>
                  <a:pt x="202359" y="270753"/>
                  <a:pt x="201082" y="271326"/>
                </a:cubicBezTo>
                <a:lnTo>
                  <a:pt x="166761" y="287300"/>
                </a:lnTo>
                <a:cubicBezTo>
                  <a:pt x="165765" y="287762"/>
                  <a:pt x="164682" y="288001"/>
                  <a:pt x="163585" y="288006"/>
                </a:cubicBezTo>
                <a:lnTo>
                  <a:pt x="163578" y="288001"/>
                </a:lnTo>
                <a:cubicBezTo>
                  <a:pt x="159405" y="288004"/>
                  <a:pt x="156019" y="284621"/>
                  <a:pt x="156017" y="280447"/>
                </a:cubicBezTo>
                <a:cubicBezTo>
                  <a:pt x="156017" y="280361"/>
                  <a:pt x="156018" y="280275"/>
                  <a:pt x="156021" y="280189"/>
                </a:cubicBezTo>
                <a:lnTo>
                  <a:pt x="157334" y="242389"/>
                </a:lnTo>
                <a:cubicBezTo>
                  <a:pt x="157398" y="240989"/>
                  <a:pt x="157834" y="239633"/>
                  <a:pt x="158597" y="238458"/>
                </a:cubicBezTo>
                <a:lnTo>
                  <a:pt x="221298" y="143806"/>
                </a:lnTo>
                <a:cubicBezTo>
                  <a:pt x="223614" y="140333"/>
                  <a:pt x="228302" y="139387"/>
                  <a:pt x="231784" y="141689"/>
                </a:cubicBezTo>
                <a:close/>
                <a:moveTo>
                  <a:pt x="44984" y="109520"/>
                </a:moveTo>
                <a:lnTo>
                  <a:pt x="183469" y="109520"/>
                </a:lnTo>
                <a:cubicBezTo>
                  <a:pt x="187645" y="109520"/>
                  <a:pt x="191030" y="112905"/>
                  <a:pt x="191030" y="117080"/>
                </a:cubicBezTo>
                <a:cubicBezTo>
                  <a:pt x="191030" y="121256"/>
                  <a:pt x="187645" y="124641"/>
                  <a:pt x="183469" y="124641"/>
                </a:cubicBezTo>
                <a:lnTo>
                  <a:pt x="44984" y="124641"/>
                </a:lnTo>
                <a:cubicBezTo>
                  <a:pt x="40808" y="124641"/>
                  <a:pt x="37423" y="121256"/>
                  <a:pt x="37423" y="117080"/>
                </a:cubicBezTo>
                <a:cubicBezTo>
                  <a:pt x="37423" y="112905"/>
                  <a:pt x="40808" y="109520"/>
                  <a:pt x="44984" y="109520"/>
                </a:cubicBezTo>
                <a:close/>
                <a:moveTo>
                  <a:pt x="44984" y="59470"/>
                </a:moveTo>
                <a:lnTo>
                  <a:pt x="183469" y="59470"/>
                </a:lnTo>
                <a:cubicBezTo>
                  <a:pt x="187645" y="59470"/>
                  <a:pt x="191030" y="62855"/>
                  <a:pt x="191030" y="67031"/>
                </a:cubicBezTo>
                <a:cubicBezTo>
                  <a:pt x="191030" y="71206"/>
                  <a:pt x="187645" y="74592"/>
                  <a:pt x="183469" y="74592"/>
                </a:cubicBezTo>
                <a:lnTo>
                  <a:pt x="44984" y="74592"/>
                </a:lnTo>
                <a:cubicBezTo>
                  <a:pt x="40808" y="74592"/>
                  <a:pt x="37423" y="71206"/>
                  <a:pt x="37423" y="67031"/>
                </a:cubicBezTo>
                <a:cubicBezTo>
                  <a:pt x="37423" y="62855"/>
                  <a:pt x="40808" y="59470"/>
                  <a:pt x="44984" y="59470"/>
                </a:cubicBezTo>
                <a:close/>
                <a:moveTo>
                  <a:pt x="28359" y="0"/>
                </a:moveTo>
                <a:lnTo>
                  <a:pt x="239206" y="0"/>
                </a:lnTo>
                <a:cubicBezTo>
                  <a:pt x="254873" y="43"/>
                  <a:pt x="267553" y="12749"/>
                  <a:pt x="267565" y="28415"/>
                </a:cubicBezTo>
                <a:lnTo>
                  <a:pt x="267565" y="126497"/>
                </a:lnTo>
                <a:cubicBezTo>
                  <a:pt x="267930" y="130768"/>
                  <a:pt x="264764" y="134527"/>
                  <a:pt x="260493" y="134892"/>
                </a:cubicBezTo>
                <a:cubicBezTo>
                  <a:pt x="256222" y="135257"/>
                  <a:pt x="252463" y="132091"/>
                  <a:pt x="252098" y="127820"/>
                </a:cubicBezTo>
                <a:cubicBezTo>
                  <a:pt x="252060" y="127380"/>
                  <a:pt x="252060" y="126937"/>
                  <a:pt x="252098" y="126497"/>
                </a:cubicBezTo>
                <a:lnTo>
                  <a:pt x="252098" y="28415"/>
                </a:lnTo>
                <a:cubicBezTo>
                  <a:pt x="252102" y="21290"/>
                  <a:pt x="246331" y="15510"/>
                  <a:pt x="239206" y="15503"/>
                </a:cubicBezTo>
                <a:lnTo>
                  <a:pt x="28345" y="15503"/>
                </a:lnTo>
                <a:cubicBezTo>
                  <a:pt x="21220" y="15510"/>
                  <a:pt x="15449" y="21290"/>
                  <a:pt x="15453" y="28415"/>
                </a:cubicBezTo>
                <a:lnTo>
                  <a:pt x="15453" y="260897"/>
                </a:lnTo>
                <a:cubicBezTo>
                  <a:pt x="15449" y="268022"/>
                  <a:pt x="21220" y="273802"/>
                  <a:pt x="28345" y="273810"/>
                </a:cubicBezTo>
                <a:lnTo>
                  <a:pt x="124613" y="273810"/>
                </a:lnTo>
                <a:cubicBezTo>
                  <a:pt x="128900" y="273811"/>
                  <a:pt x="132374" y="277287"/>
                  <a:pt x="132373" y="281573"/>
                </a:cubicBezTo>
                <a:cubicBezTo>
                  <a:pt x="132372" y="285860"/>
                  <a:pt x="128899" y="289333"/>
                  <a:pt x="124613" y="289333"/>
                </a:cubicBezTo>
                <a:lnTo>
                  <a:pt x="124613" y="289313"/>
                </a:lnTo>
                <a:lnTo>
                  <a:pt x="28345" y="289313"/>
                </a:lnTo>
                <a:cubicBezTo>
                  <a:pt x="12684" y="289262"/>
                  <a:pt x="12" y="276558"/>
                  <a:pt x="0" y="260897"/>
                </a:cubicBezTo>
                <a:lnTo>
                  <a:pt x="0" y="28415"/>
                </a:lnTo>
                <a:cubicBezTo>
                  <a:pt x="12" y="12749"/>
                  <a:pt x="12692" y="43"/>
                  <a:pt x="28359" y="0"/>
                </a:cubicBezTo>
                <a:close/>
              </a:path>
            </a:pathLst>
          </a:custGeom>
          <a:solidFill>
            <a:schemeClr val="bg1"/>
          </a:solidFill>
          <a:ln w="279" cap="flat">
            <a:noFill/>
            <a:prstDash val="solid"/>
            <a:miter/>
          </a:ln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2841547" y="4001998"/>
            <a:ext cx="1895553" cy="963309"/>
            <a:chOff x="4202" y="6215"/>
            <a:chExt cx="2965" cy="1517"/>
          </a:xfrm>
        </p:grpSpPr>
        <p:sp>
          <p:nvSpPr>
            <p:cNvPr id="128" name="矩形: 圆角 127"/>
            <p:cNvSpPr/>
            <p:nvPr/>
          </p:nvSpPr>
          <p:spPr>
            <a:xfrm>
              <a:off x="4202" y="6215"/>
              <a:ext cx="2965" cy="1517"/>
            </a:xfrm>
            <a:prstGeom prst="roundRect">
              <a:avLst>
                <a:gd name="adj" fmla="val 3281"/>
              </a:avLst>
            </a:prstGeom>
            <a:solidFill>
              <a:srgbClr val="0971CA">
                <a:alpha val="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/>
            <p:nvPr/>
          </p:nvSpPr>
          <p:spPr>
            <a:xfrm>
              <a:off x="4315" y="6361"/>
              <a:ext cx="563" cy="5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971CA">
                  <a:alpha val="50000"/>
                </a:srgb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gradFill>
                  <a:gsLst>
                    <a:gs pos="79000">
                      <a:srgbClr val="F7A200"/>
                    </a:gs>
                    <a:gs pos="99000">
                      <a:srgbClr val="F7A200"/>
                    </a:gs>
                    <a:gs pos="0">
                      <a:srgbClr val="F7A200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" name="文本框 141"/>
            <p:cNvSpPr txBox="1"/>
            <p:nvPr/>
          </p:nvSpPr>
          <p:spPr>
            <a:xfrm>
              <a:off x="4879" y="6279"/>
              <a:ext cx="2288" cy="727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marR="0" lvl="0" defTabSz="914400" rtl="0" fontAlgn="auto">
                <a:buClr>
                  <a:srgbClr val="F7A200"/>
                </a:buClr>
                <a:buSzTx/>
                <a:defRPr/>
              </a:pPr>
              <a:r>
                <a:rPr kumimoji="0" lang="zh-CN" altLang="en-US" sz="120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儿童患病率则高达</a:t>
              </a:r>
              <a:endParaRPr kumimoji="0" lang="zh-CN" altLang="en-US" sz="120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144" name="任意多边形: 形状 143"/>
            <p:cNvSpPr/>
            <p:nvPr/>
          </p:nvSpPr>
          <p:spPr>
            <a:xfrm>
              <a:off x="4457" y="6491"/>
              <a:ext cx="303" cy="303"/>
            </a:xfrm>
            <a:custGeom>
              <a:avLst/>
              <a:gdLst>
                <a:gd name="connsiteX0" fmla="*/ 844576 w 906967"/>
                <a:gd name="connsiteY0" fmla="*/ 537721 h 906746"/>
                <a:gd name="connsiteX1" fmla="*/ 845606 w 906967"/>
                <a:gd name="connsiteY1" fmla="*/ 496899 h 906746"/>
                <a:gd name="connsiteX2" fmla="*/ 740979 w 906967"/>
                <a:gd name="connsiteY2" fmla="*/ 243485 h 906746"/>
                <a:gd name="connsiteX3" fmla="*/ 562604 w 906967"/>
                <a:gd name="connsiteY3" fmla="*/ 139117 h 906746"/>
                <a:gd name="connsiteX4" fmla="*/ 402430 w 906967"/>
                <a:gd name="connsiteY4" fmla="*/ 121027 h 906746"/>
                <a:gd name="connsiteX5" fmla="*/ 317835 w 906967"/>
                <a:gd name="connsiteY5" fmla="*/ 112635 h 906746"/>
                <a:gd name="connsiteX6" fmla="*/ 217085 w 906967"/>
                <a:gd name="connsiteY6" fmla="*/ 29056 h 906746"/>
                <a:gd name="connsiteX7" fmla="*/ 174202 w 906967"/>
                <a:gd name="connsiteY7" fmla="*/ 0 h 906746"/>
                <a:gd name="connsiteX8" fmla="*/ 163096 w 906967"/>
                <a:gd name="connsiteY8" fmla="*/ 1550 h 906746"/>
                <a:gd name="connsiteX9" fmla="*/ 105355 w 906967"/>
                <a:gd name="connsiteY9" fmla="*/ 142862 h 906746"/>
                <a:gd name="connsiteX10" fmla="*/ 132876 w 906967"/>
                <a:gd name="connsiteY10" fmla="*/ 285709 h 906746"/>
                <a:gd name="connsiteX11" fmla="*/ 131193 w 906967"/>
                <a:gd name="connsiteY11" fmla="*/ 287771 h 906746"/>
                <a:gd name="connsiteX12" fmla="*/ 61967 w 906967"/>
                <a:gd name="connsiteY12" fmla="*/ 504892 h 906746"/>
                <a:gd name="connsiteX13" fmla="*/ 62872 w 906967"/>
                <a:gd name="connsiteY13" fmla="*/ 537833 h 906746"/>
                <a:gd name="connsiteX14" fmla="*/ 2039 w 906967"/>
                <a:gd name="connsiteY14" fmla="*/ 655628 h 906746"/>
                <a:gd name="connsiteX15" fmla="*/ 45041 w 906967"/>
                <a:gd name="connsiteY15" fmla="*/ 723311 h 906746"/>
                <a:gd name="connsiteX16" fmla="*/ 119953 w 906967"/>
                <a:gd name="connsiteY16" fmla="*/ 738947 h 906746"/>
                <a:gd name="connsiteX17" fmla="*/ 121124 w 906967"/>
                <a:gd name="connsiteY17" fmla="*/ 738687 h 906746"/>
                <a:gd name="connsiteX18" fmla="*/ 166980 w 906967"/>
                <a:gd name="connsiteY18" fmla="*/ 797978 h 906746"/>
                <a:gd name="connsiteX19" fmla="*/ 298210 w 906967"/>
                <a:gd name="connsiteY19" fmla="*/ 881276 h 906746"/>
                <a:gd name="connsiteX20" fmla="*/ 451666 w 906967"/>
                <a:gd name="connsiteY20" fmla="*/ 906728 h 906746"/>
                <a:gd name="connsiteX21" fmla="*/ 457471 w 906967"/>
                <a:gd name="connsiteY21" fmla="*/ 906728 h 906746"/>
                <a:gd name="connsiteX22" fmla="*/ 792528 w 906967"/>
                <a:gd name="connsiteY22" fmla="*/ 739851 h 906746"/>
                <a:gd name="connsiteX23" fmla="*/ 864608 w 906967"/>
                <a:gd name="connsiteY23" fmla="*/ 721509 h 906746"/>
                <a:gd name="connsiteX24" fmla="*/ 884660 w 906967"/>
                <a:gd name="connsiteY24" fmla="*/ 569926 h 906746"/>
                <a:gd name="connsiteX25" fmla="*/ 844575 w 906967"/>
                <a:gd name="connsiteY25" fmla="*/ 537721 h 906746"/>
                <a:gd name="connsiteX26" fmla="*/ 79146 w 906967"/>
                <a:gd name="connsiteY26" fmla="*/ 671025 h 906746"/>
                <a:gd name="connsiteX27" fmla="*/ 61834 w 906967"/>
                <a:gd name="connsiteY27" fmla="*/ 643645 h 906746"/>
                <a:gd name="connsiteX28" fmla="*/ 71398 w 906967"/>
                <a:gd name="connsiteY28" fmla="*/ 606827 h 906746"/>
                <a:gd name="connsiteX29" fmla="*/ 91171 w 906967"/>
                <a:gd name="connsiteY29" fmla="*/ 676698 h 906746"/>
                <a:gd name="connsiteX30" fmla="*/ 79146 w 906967"/>
                <a:gd name="connsiteY30" fmla="*/ 671018 h 906746"/>
                <a:gd name="connsiteX31" fmla="*/ 691133 w 906967"/>
                <a:gd name="connsiteY31" fmla="*/ 770092 h 906746"/>
                <a:gd name="connsiteX32" fmla="*/ 456826 w 906967"/>
                <a:gd name="connsiteY32" fmla="*/ 843848 h 906746"/>
                <a:gd name="connsiteX33" fmla="*/ 451792 w 906967"/>
                <a:gd name="connsiteY33" fmla="*/ 843848 h 906746"/>
                <a:gd name="connsiteX34" fmla="*/ 209863 w 906967"/>
                <a:gd name="connsiteY34" fmla="*/ 753166 h 906746"/>
                <a:gd name="connsiteX35" fmla="*/ 122800 w 906967"/>
                <a:gd name="connsiteY35" fmla="*/ 504787 h 906746"/>
                <a:gd name="connsiteX36" fmla="*/ 165943 w 906967"/>
                <a:gd name="connsiteY36" fmla="*/ 346808 h 906746"/>
                <a:gd name="connsiteX37" fmla="*/ 357233 w 906967"/>
                <a:gd name="connsiteY37" fmla="*/ 479840 h 906746"/>
                <a:gd name="connsiteX38" fmla="*/ 571263 w 906967"/>
                <a:gd name="connsiteY38" fmla="*/ 480099 h 906746"/>
                <a:gd name="connsiteX39" fmla="*/ 682607 w 906967"/>
                <a:gd name="connsiteY39" fmla="*/ 367605 h 906746"/>
                <a:gd name="connsiteX40" fmla="*/ 687516 w 906967"/>
                <a:gd name="connsiteY40" fmla="*/ 277702 h 906746"/>
                <a:gd name="connsiteX41" fmla="*/ 698229 w 906967"/>
                <a:gd name="connsiteY41" fmla="*/ 288290 h 906746"/>
                <a:gd name="connsiteX42" fmla="*/ 784766 w 906967"/>
                <a:gd name="connsiteY42" fmla="*/ 496885 h 906746"/>
                <a:gd name="connsiteX43" fmla="*/ 691133 w 906967"/>
                <a:gd name="connsiteY43" fmla="*/ 770092 h 906746"/>
                <a:gd name="connsiteX44" fmla="*/ 845606 w 906967"/>
                <a:gd name="connsiteY44" fmla="*/ 642208 h 906746"/>
                <a:gd name="connsiteX45" fmla="*/ 829066 w 906967"/>
                <a:gd name="connsiteY45" fmla="*/ 670233 h 906746"/>
                <a:gd name="connsiteX46" fmla="*/ 820561 w 906967"/>
                <a:gd name="connsiteY46" fmla="*/ 675008 h 906746"/>
                <a:gd name="connsiteX47" fmla="*/ 836954 w 906967"/>
                <a:gd name="connsiteY47" fmla="*/ 607844 h 906746"/>
                <a:gd name="connsiteX48" fmla="*/ 845606 w 906967"/>
                <a:gd name="connsiteY48" fmla="*/ 642208 h 906746"/>
                <a:gd name="connsiteX49" fmla="*/ 621122 w 906967"/>
                <a:gd name="connsiteY49" fmla="*/ 552445 h 906746"/>
                <a:gd name="connsiteX50" fmla="*/ 535349 w 906967"/>
                <a:gd name="connsiteY50" fmla="*/ 642348 h 906746"/>
                <a:gd name="connsiteX51" fmla="*/ 564969 w 906967"/>
                <a:gd name="connsiteY51" fmla="*/ 673568 h 906746"/>
                <a:gd name="connsiteX52" fmla="*/ 596189 w 906967"/>
                <a:gd name="connsiteY52" fmla="*/ 643948 h 906746"/>
                <a:gd name="connsiteX53" fmla="*/ 596189 w 906967"/>
                <a:gd name="connsiteY53" fmla="*/ 642348 h 906746"/>
                <a:gd name="connsiteX54" fmla="*/ 619112 w 906967"/>
                <a:gd name="connsiteY54" fmla="*/ 615411 h 906746"/>
                <a:gd name="connsiteX55" fmla="*/ 646049 w 906967"/>
                <a:gd name="connsiteY55" fmla="*/ 638335 h 906746"/>
                <a:gd name="connsiteX56" fmla="*/ 646049 w 906967"/>
                <a:gd name="connsiteY56" fmla="*/ 642348 h 906746"/>
                <a:gd name="connsiteX57" fmla="*/ 675599 w 906967"/>
                <a:gd name="connsiteY57" fmla="*/ 673497 h 906746"/>
                <a:gd name="connsiteX58" fmla="*/ 706748 w 906967"/>
                <a:gd name="connsiteY58" fmla="*/ 643946 h 906746"/>
                <a:gd name="connsiteX59" fmla="*/ 706748 w 906967"/>
                <a:gd name="connsiteY59" fmla="*/ 642348 h 906746"/>
                <a:gd name="connsiteX60" fmla="*/ 621122 w 906967"/>
                <a:gd name="connsiteY60" fmla="*/ 552445 h 906746"/>
                <a:gd name="connsiteX61" fmla="*/ 300657 w 906967"/>
                <a:gd name="connsiteY61" fmla="*/ 552445 h 906746"/>
                <a:gd name="connsiteX62" fmla="*/ 214898 w 906967"/>
                <a:gd name="connsiteY62" fmla="*/ 642348 h 906746"/>
                <a:gd name="connsiteX63" fmla="*/ 244223 w 906967"/>
                <a:gd name="connsiteY63" fmla="*/ 673737 h 906746"/>
                <a:gd name="connsiteX64" fmla="*/ 275611 w 906967"/>
                <a:gd name="connsiteY64" fmla="*/ 644412 h 906746"/>
                <a:gd name="connsiteX65" fmla="*/ 275611 w 906967"/>
                <a:gd name="connsiteY65" fmla="*/ 642348 h 906746"/>
                <a:gd name="connsiteX66" fmla="*/ 298575 w 906967"/>
                <a:gd name="connsiteY66" fmla="*/ 615459 h 906746"/>
                <a:gd name="connsiteX67" fmla="*/ 325464 w 906967"/>
                <a:gd name="connsiteY67" fmla="*/ 638423 h 906746"/>
                <a:gd name="connsiteX68" fmla="*/ 325464 w 906967"/>
                <a:gd name="connsiteY68" fmla="*/ 642348 h 906746"/>
                <a:gd name="connsiteX69" fmla="*/ 354894 w 906967"/>
                <a:gd name="connsiteY69" fmla="*/ 673624 h 906746"/>
                <a:gd name="connsiteX70" fmla="*/ 386170 w 906967"/>
                <a:gd name="connsiteY70" fmla="*/ 644194 h 906746"/>
                <a:gd name="connsiteX71" fmla="*/ 386170 w 906967"/>
                <a:gd name="connsiteY71" fmla="*/ 642348 h 906746"/>
                <a:gd name="connsiteX72" fmla="*/ 301048 w 906967"/>
                <a:gd name="connsiteY72" fmla="*/ 552455 h 906746"/>
                <a:gd name="connsiteX73" fmla="*/ 300657 w 906967"/>
                <a:gd name="connsiteY73" fmla="*/ 552445 h 906746"/>
                <a:gd name="connsiteX74" fmla="*/ 167471 w 906967"/>
                <a:gd name="connsiteY74" fmla="*/ 63834 h 906746"/>
                <a:gd name="connsiteX75" fmla="*/ 266110 w 906967"/>
                <a:gd name="connsiteY75" fmla="*/ 151514 h 906746"/>
                <a:gd name="connsiteX76" fmla="*/ 563592 w 906967"/>
                <a:gd name="connsiteY76" fmla="*/ 196914 h 906746"/>
                <a:gd name="connsiteX77" fmla="*/ 645004 w 906967"/>
                <a:gd name="connsiteY77" fmla="*/ 314345 h 906746"/>
                <a:gd name="connsiteX78" fmla="*/ 535412 w 906967"/>
                <a:gd name="connsiteY78" fmla="*/ 436466 h 906746"/>
                <a:gd name="connsiteX79" fmla="*/ 247319 w 906967"/>
                <a:gd name="connsiteY79" fmla="*/ 359745 h 906746"/>
                <a:gd name="connsiteX80" fmla="*/ 167471 w 906967"/>
                <a:gd name="connsiteY80" fmla="*/ 63834 h 90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06967" h="906746">
                  <a:moveTo>
                    <a:pt x="844576" y="537721"/>
                  </a:moveTo>
                  <a:cubicBezTo>
                    <a:pt x="845221" y="524539"/>
                    <a:pt x="845606" y="510852"/>
                    <a:pt x="845606" y="496899"/>
                  </a:cubicBezTo>
                  <a:cubicBezTo>
                    <a:pt x="845331" y="401972"/>
                    <a:pt x="807754" y="310957"/>
                    <a:pt x="740979" y="243485"/>
                  </a:cubicBezTo>
                  <a:cubicBezTo>
                    <a:pt x="691728" y="193622"/>
                    <a:pt x="630202" y="157623"/>
                    <a:pt x="562604" y="139117"/>
                  </a:cubicBezTo>
                  <a:cubicBezTo>
                    <a:pt x="510297" y="126195"/>
                    <a:pt x="450488" y="123348"/>
                    <a:pt x="402430" y="121027"/>
                  </a:cubicBezTo>
                  <a:cubicBezTo>
                    <a:pt x="366012" y="119345"/>
                    <a:pt x="334488" y="117795"/>
                    <a:pt x="317835" y="112635"/>
                  </a:cubicBezTo>
                  <a:cubicBezTo>
                    <a:pt x="274455" y="99316"/>
                    <a:pt x="238187" y="69230"/>
                    <a:pt x="217085" y="29056"/>
                  </a:cubicBezTo>
                  <a:cubicBezTo>
                    <a:pt x="202887" y="3744"/>
                    <a:pt x="184152" y="0"/>
                    <a:pt x="174202" y="0"/>
                  </a:cubicBezTo>
                  <a:cubicBezTo>
                    <a:pt x="170446" y="0"/>
                    <a:pt x="166708" y="521"/>
                    <a:pt x="163096" y="1550"/>
                  </a:cubicBezTo>
                  <a:cubicBezTo>
                    <a:pt x="120984" y="13175"/>
                    <a:pt x="105615" y="84988"/>
                    <a:pt x="105355" y="142862"/>
                  </a:cubicBezTo>
                  <a:cubicBezTo>
                    <a:pt x="105051" y="191823"/>
                    <a:pt x="114402" y="240365"/>
                    <a:pt x="132876" y="285709"/>
                  </a:cubicBezTo>
                  <a:cubicBezTo>
                    <a:pt x="132280" y="286367"/>
                    <a:pt x="131719" y="287055"/>
                    <a:pt x="131193" y="287771"/>
                  </a:cubicBezTo>
                  <a:cubicBezTo>
                    <a:pt x="85805" y="351036"/>
                    <a:pt x="61575" y="427030"/>
                    <a:pt x="61967" y="504892"/>
                  </a:cubicBezTo>
                  <a:cubicBezTo>
                    <a:pt x="61967" y="515999"/>
                    <a:pt x="62227" y="526979"/>
                    <a:pt x="62872" y="537833"/>
                  </a:cubicBezTo>
                  <a:cubicBezTo>
                    <a:pt x="17630" y="558133"/>
                    <a:pt x="-7599" y="606986"/>
                    <a:pt x="2039" y="655628"/>
                  </a:cubicBezTo>
                  <a:cubicBezTo>
                    <a:pt x="6838" y="682996"/>
                    <a:pt x="22305" y="707339"/>
                    <a:pt x="45041" y="723311"/>
                  </a:cubicBezTo>
                  <a:cubicBezTo>
                    <a:pt x="66841" y="738506"/>
                    <a:pt x="93895" y="744153"/>
                    <a:pt x="119953" y="738947"/>
                  </a:cubicBezTo>
                  <a:cubicBezTo>
                    <a:pt x="120355" y="738925"/>
                    <a:pt x="120751" y="738837"/>
                    <a:pt x="121124" y="738687"/>
                  </a:cubicBezTo>
                  <a:cubicBezTo>
                    <a:pt x="134143" y="760104"/>
                    <a:pt x="149525" y="779992"/>
                    <a:pt x="166980" y="797978"/>
                  </a:cubicBezTo>
                  <a:cubicBezTo>
                    <a:pt x="203833" y="835345"/>
                    <a:pt x="248711" y="863831"/>
                    <a:pt x="298210" y="881276"/>
                  </a:cubicBezTo>
                  <a:cubicBezTo>
                    <a:pt x="347498" y="898596"/>
                    <a:pt x="399425" y="907208"/>
                    <a:pt x="451666" y="906728"/>
                  </a:cubicBezTo>
                  <a:lnTo>
                    <a:pt x="457471" y="906728"/>
                  </a:lnTo>
                  <a:cubicBezTo>
                    <a:pt x="619061" y="904912"/>
                    <a:pt x="731815" y="848868"/>
                    <a:pt x="792528" y="739851"/>
                  </a:cubicBezTo>
                  <a:cubicBezTo>
                    <a:pt x="818042" y="743635"/>
                    <a:pt x="844007" y="737028"/>
                    <a:pt x="864608" y="721509"/>
                  </a:cubicBezTo>
                  <a:cubicBezTo>
                    <a:pt x="912004" y="685188"/>
                    <a:pt x="920981" y="617322"/>
                    <a:pt x="884660" y="569926"/>
                  </a:cubicBezTo>
                  <a:cubicBezTo>
                    <a:pt x="874083" y="556124"/>
                    <a:pt x="860333" y="545076"/>
                    <a:pt x="844575" y="537721"/>
                  </a:cubicBezTo>
                  <a:close/>
                  <a:moveTo>
                    <a:pt x="79146" y="671025"/>
                  </a:moveTo>
                  <a:cubicBezTo>
                    <a:pt x="69973" y="664555"/>
                    <a:pt x="63746" y="654706"/>
                    <a:pt x="61834" y="643645"/>
                  </a:cubicBezTo>
                  <a:cubicBezTo>
                    <a:pt x="59361" y="630560"/>
                    <a:pt x="62869" y="617054"/>
                    <a:pt x="71398" y="606827"/>
                  </a:cubicBezTo>
                  <a:cubicBezTo>
                    <a:pt x="75990" y="630637"/>
                    <a:pt x="82605" y="654012"/>
                    <a:pt x="91171" y="676698"/>
                  </a:cubicBezTo>
                  <a:cubicBezTo>
                    <a:pt x="86867" y="675505"/>
                    <a:pt x="82800" y="673584"/>
                    <a:pt x="79146" y="671018"/>
                  </a:cubicBezTo>
                  <a:close/>
                  <a:moveTo>
                    <a:pt x="691133" y="770092"/>
                  </a:moveTo>
                  <a:cubicBezTo>
                    <a:pt x="638041" y="817884"/>
                    <a:pt x="559252" y="842677"/>
                    <a:pt x="456826" y="843848"/>
                  </a:cubicBezTo>
                  <a:lnTo>
                    <a:pt x="451792" y="843848"/>
                  </a:lnTo>
                  <a:cubicBezTo>
                    <a:pt x="351421" y="843848"/>
                    <a:pt x="267863" y="812457"/>
                    <a:pt x="209863" y="753166"/>
                  </a:cubicBezTo>
                  <a:cubicBezTo>
                    <a:pt x="152116" y="694009"/>
                    <a:pt x="122800" y="610438"/>
                    <a:pt x="122800" y="504787"/>
                  </a:cubicBezTo>
                  <a:cubicBezTo>
                    <a:pt x="122650" y="449198"/>
                    <a:pt x="137559" y="394606"/>
                    <a:pt x="165943" y="346808"/>
                  </a:cubicBezTo>
                  <a:cubicBezTo>
                    <a:pt x="209863" y="410874"/>
                    <a:pt x="274188" y="455559"/>
                    <a:pt x="357233" y="479840"/>
                  </a:cubicBezTo>
                  <a:cubicBezTo>
                    <a:pt x="437699" y="503216"/>
                    <a:pt x="512225" y="503216"/>
                    <a:pt x="571263" y="480099"/>
                  </a:cubicBezTo>
                  <a:cubicBezTo>
                    <a:pt x="625897" y="458672"/>
                    <a:pt x="665429" y="418748"/>
                    <a:pt x="682607" y="367605"/>
                  </a:cubicBezTo>
                  <a:cubicBezTo>
                    <a:pt x="692345" y="338633"/>
                    <a:pt x="694041" y="307562"/>
                    <a:pt x="687516" y="277702"/>
                  </a:cubicBezTo>
                  <a:cubicBezTo>
                    <a:pt x="691133" y="281194"/>
                    <a:pt x="694751" y="284552"/>
                    <a:pt x="698229" y="288290"/>
                  </a:cubicBezTo>
                  <a:cubicBezTo>
                    <a:pt x="753350" y="343759"/>
                    <a:pt x="784434" y="418687"/>
                    <a:pt x="784766" y="496885"/>
                  </a:cubicBezTo>
                  <a:cubicBezTo>
                    <a:pt x="784766" y="622197"/>
                    <a:pt x="753263" y="714161"/>
                    <a:pt x="691133" y="770092"/>
                  </a:cubicBezTo>
                  <a:close/>
                  <a:moveTo>
                    <a:pt x="845606" y="642208"/>
                  </a:moveTo>
                  <a:cubicBezTo>
                    <a:pt x="844030" y="653374"/>
                    <a:pt x="838080" y="663456"/>
                    <a:pt x="829066" y="670233"/>
                  </a:cubicBezTo>
                  <a:cubicBezTo>
                    <a:pt x="826426" y="672150"/>
                    <a:pt x="823572" y="673752"/>
                    <a:pt x="820561" y="675008"/>
                  </a:cubicBezTo>
                  <a:cubicBezTo>
                    <a:pt x="827623" y="653040"/>
                    <a:pt x="833101" y="630595"/>
                    <a:pt x="836954" y="607844"/>
                  </a:cubicBezTo>
                  <a:cubicBezTo>
                    <a:pt x="844400" y="617641"/>
                    <a:pt x="847525" y="630053"/>
                    <a:pt x="845606" y="642208"/>
                  </a:cubicBezTo>
                  <a:close/>
                  <a:moveTo>
                    <a:pt x="621122" y="552445"/>
                  </a:moveTo>
                  <a:cubicBezTo>
                    <a:pt x="573850" y="552445"/>
                    <a:pt x="535349" y="592741"/>
                    <a:pt x="535349" y="642348"/>
                  </a:cubicBezTo>
                  <a:cubicBezTo>
                    <a:pt x="534908" y="659148"/>
                    <a:pt x="548169" y="673126"/>
                    <a:pt x="564969" y="673568"/>
                  </a:cubicBezTo>
                  <a:cubicBezTo>
                    <a:pt x="581770" y="674010"/>
                    <a:pt x="595747" y="660748"/>
                    <a:pt x="596189" y="643948"/>
                  </a:cubicBezTo>
                  <a:cubicBezTo>
                    <a:pt x="596203" y="643415"/>
                    <a:pt x="596203" y="642881"/>
                    <a:pt x="596189" y="642348"/>
                  </a:cubicBezTo>
                  <a:cubicBezTo>
                    <a:pt x="595081" y="628580"/>
                    <a:pt x="605344" y="616520"/>
                    <a:pt x="619112" y="615411"/>
                  </a:cubicBezTo>
                  <a:cubicBezTo>
                    <a:pt x="632881" y="614303"/>
                    <a:pt x="644941" y="624566"/>
                    <a:pt x="646049" y="638335"/>
                  </a:cubicBezTo>
                  <a:cubicBezTo>
                    <a:pt x="646156" y="639670"/>
                    <a:pt x="646156" y="641012"/>
                    <a:pt x="646049" y="642348"/>
                  </a:cubicBezTo>
                  <a:cubicBezTo>
                    <a:pt x="645607" y="659110"/>
                    <a:pt x="658838" y="673055"/>
                    <a:pt x="675599" y="673497"/>
                  </a:cubicBezTo>
                  <a:cubicBezTo>
                    <a:pt x="692361" y="673938"/>
                    <a:pt x="706307" y="660708"/>
                    <a:pt x="706748" y="643946"/>
                  </a:cubicBezTo>
                  <a:cubicBezTo>
                    <a:pt x="706762" y="643413"/>
                    <a:pt x="706762" y="642881"/>
                    <a:pt x="706748" y="642348"/>
                  </a:cubicBezTo>
                  <a:cubicBezTo>
                    <a:pt x="706889" y="592615"/>
                    <a:pt x="668395" y="552445"/>
                    <a:pt x="621122" y="552445"/>
                  </a:cubicBezTo>
                  <a:close/>
                  <a:moveTo>
                    <a:pt x="300657" y="552445"/>
                  </a:moveTo>
                  <a:cubicBezTo>
                    <a:pt x="253391" y="552445"/>
                    <a:pt x="214898" y="592741"/>
                    <a:pt x="214898" y="642348"/>
                  </a:cubicBezTo>
                  <a:cubicBezTo>
                    <a:pt x="214328" y="659113"/>
                    <a:pt x="227457" y="673167"/>
                    <a:pt x="244223" y="673737"/>
                  </a:cubicBezTo>
                  <a:cubicBezTo>
                    <a:pt x="260988" y="674306"/>
                    <a:pt x="275041" y="661177"/>
                    <a:pt x="275611" y="644412"/>
                  </a:cubicBezTo>
                  <a:cubicBezTo>
                    <a:pt x="275635" y="643724"/>
                    <a:pt x="275635" y="643036"/>
                    <a:pt x="275611" y="642348"/>
                  </a:cubicBezTo>
                  <a:cubicBezTo>
                    <a:pt x="274527" y="628582"/>
                    <a:pt x="284809" y="616543"/>
                    <a:pt x="298575" y="615459"/>
                  </a:cubicBezTo>
                  <a:cubicBezTo>
                    <a:pt x="312342" y="614375"/>
                    <a:pt x="324380" y="624657"/>
                    <a:pt x="325464" y="638423"/>
                  </a:cubicBezTo>
                  <a:cubicBezTo>
                    <a:pt x="325567" y="639729"/>
                    <a:pt x="325567" y="641042"/>
                    <a:pt x="325464" y="642348"/>
                  </a:cubicBezTo>
                  <a:cubicBezTo>
                    <a:pt x="324954" y="659112"/>
                    <a:pt x="338131" y="673114"/>
                    <a:pt x="354894" y="673624"/>
                  </a:cubicBezTo>
                  <a:cubicBezTo>
                    <a:pt x="371658" y="674134"/>
                    <a:pt x="385661" y="660957"/>
                    <a:pt x="386170" y="644194"/>
                  </a:cubicBezTo>
                  <a:cubicBezTo>
                    <a:pt x="386189" y="643578"/>
                    <a:pt x="386189" y="642963"/>
                    <a:pt x="386170" y="642348"/>
                  </a:cubicBezTo>
                  <a:cubicBezTo>
                    <a:pt x="387488" y="594019"/>
                    <a:pt x="349378" y="553772"/>
                    <a:pt x="301048" y="552455"/>
                  </a:cubicBezTo>
                  <a:cubicBezTo>
                    <a:pt x="300918" y="552451"/>
                    <a:pt x="300787" y="552448"/>
                    <a:pt x="300657" y="552445"/>
                  </a:cubicBezTo>
                  <a:close/>
                  <a:moveTo>
                    <a:pt x="167471" y="63834"/>
                  </a:moveTo>
                  <a:cubicBezTo>
                    <a:pt x="167471" y="63834"/>
                    <a:pt x="225401" y="135857"/>
                    <a:pt x="266110" y="151514"/>
                  </a:cubicBezTo>
                  <a:cubicBezTo>
                    <a:pt x="316208" y="174996"/>
                    <a:pt x="511924" y="167171"/>
                    <a:pt x="563592" y="196914"/>
                  </a:cubicBezTo>
                  <a:cubicBezTo>
                    <a:pt x="615261" y="226657"/>
                    <a:pt x="643440" y="254844"/>
                    <a:pt x="645004" y="314345"/>
                  </a:cubicBezTo>
                  <a:cubicBezTo>
                    <a:pt x="646568" y="373845"/>
                    <a:pt x="582376" y="430205"/>
                    <a:pt x="535412" y="436466"/>
                  </a:cubicBezTo>
                  <a:cubicBezTo>
                    <a:pt x="488449" y="442727"/>
                    <a:pt x="330302" y="458384"/>
                    <a:pt x="247319" y="359745"/>
                  </a:cubicBezTo>
                  <a:cubicBezTo>
                    <a:pt x="197221" y="298688"/>
                    <a:pt x="131459" y="209444"/>
                    <a:pt x="167471" y="63834"/>
                  </a:cubicBezTo>
                  <a:close/>
                </a:path>
              </a:pathLst>
            </a:custGeom>
            <a:solidFill>
              <a:srgbClr val="0971CA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文本框 155"/>
            <p:cNvSpPr txBox="1"/>
            <p:nvPr/>
          </p:nvSpPr>
          <p:spPr>
            <a:xfrm>
              <a:off x="5389" y="6778"/>
              <a:ext cx="1268" cy="628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fontAlgn="auto">
                <a:buClr>
                  <a:srgbClr val="F7A200"/>
                </a:buClr>
              </a:pPr>
              <a:r>
                <a:rPr lang="en-US" altLang="zh-CN" sz="2000">
                  <a:solidFill>
                    <a:srgbClr val="0971CA"/>
                  </a:solidFill>
                  <a:latin typeface="Impact" panose="020B0806030902050204" pitchFamily="34" charset="0"/>
                  <a:ea typeface="微软雅黑" panose="020B0503020204020204" pitchFamily="34" charset="-122"/>
                  <a:sym typeface="+mn-ea"/>
                </a:rPr>
                <a:t>30%</a:t>
              </a:r>
              <a:endParaRPr lang="en-US" altLang="zh-CN" sz="2000">
                <a:solidFill>
                  <a:srgbClr val="0971CA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4202" y="7291"/>
              <a:ext cx="2965" cy="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（其中约</a:t>
              </a:r>
              <a:r>
                <a:rPr lang="en-US" altLang="zh-CN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 </a:t>
              </a:r>
              <a:r>
                <a:rPr lang="en-US" altLang="zh-CN" sz="1000" b="1" dirty="0">
                  <a:solidFill>
                    <a:srgbClr val="0971CA"/>
                  </a:solidFill>
                  <a:latin typeface="+mn-ea"/>
                </a:rPr>
                <a:t>25% </a:t>
              </a:r>
              <a:r>
                <a:rPr lang="zh-CN" altLang="en-US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为</a:t>
              </a:r>
              <a:r>
                <a:rPr lang="en-US" altLang="zh-CN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2-3</a:t>
              </a:r>
              <a:r>
                <a:rPr lang="zh-CN" altLang="en-US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岁</a:t>
              </a:r>
              <a:r>
                <a:rPr lang="zh-CN" altLang="en-US" sz="1000" dirty="0">
                  <a:solidFill>
                    <a:schemeClr val="tx1"/>
                  </a:solidFill>
                  <a:latin typeface="+mn-ea"/>
                </a:rPr>
                <a:t>幼儿</a:t>
              </a:r>
              <a:r>
                <a:rPr lang="zh-CN" altLang="en-US" sz="1000" dirty="0">
                  <a:gradFill>
                    <a:gsLst>
                      <a:gs pos="100000">
                        <a:schemeClr val="tx1"/>
                      </a:gs>
                      <a:gs pos="0">
                        <a:schemeClr val="tx1"/>
                      </a:gs>
                    </a:gsLst>
                    <a:lin ang="0" scaled="0"/>
                  </a:gradFill>
                  <a:latin typeface="+mn-ea"/>
                </a:rPr>
                <a:t>）</a:t>
              </a:r>
              <a:endParaRPr lang="zh-CN" altLang="en-US" sz="1000" dirty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+mn-ea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734060" y="4008755"/>
            <a:ext cx="1972945" cy="963295"/>
            <a:chOff x="1067" y="6215"/>
            <a:chExt cx="3007" cy="1517"/>
          </a:xfrm>
        </p:grpSpPr>
        <p:sp>
          <p:nvSpPr>
            <p:cNvPr id="127" name="矩形: 圆角 126"/>
            <p:cNvSpPr/>
            <p:nvPr/>
          </p:nvSpPr>
          <p:spPr>
            <a:xfrm>
              <a:off x="1067" y="6215"/>
              <a:ext cx="2965" cy="1517"/>
            </a:xfrm>
            <a:prstGeom prst="roundRect">
              <a:avLst>
                <a:gd name="adj" fmla="val 3281"/>
              </a:avLst>
            </a:prstGeom>
            <a:solidFill>
              <a:srgbClr val="0971CA">
                <a:alpha val="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椭圆 129"/>
            <p:cNvSpPr/>
            <p:nvPr/>
          </p:nvSpPr>
          <p:spPr>
            <a:xfrm>
              <a:off x="1180" y="6361"/>
              <a:ext cx="563" cy="5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971CA">
                  <a:alpha val="50000"/>
                </a:srgb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gradFill>
                  <a:gsLst>
                    <a:gs pos="79000">
                      <a:srgbClr val="F7A200"/>
                    </a:gs>
                    <a:gs pos="99000">
                      <a:srgbClr val="F7A200"/>
                    </a:gs>
                    <a:gs pos="0">
                      <a:srgbClr val="F7A200"/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文本框 132"/>
            <p:cNvSpPr txBox="1"/>
            <p:nvPr/>
          </p:nvSpPr>
          <p:spPr>
            <a:xfrm>
              <a:off x="1744" y="6279"/>
              <a:ext cx="2330" cy="727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R="0" lvl="0" defTabSz="914400" rtl="0" fontAlgn="auto">
                <a:buClr>
                  <a:srgbClr val="F7A200"/>
                </a:buClr>
                <a:buSzTx/>
                <a:defRPr/>
              </a:pPr>
              <a:r>
                <a:rPr kumimoji="0" lang="zh-CN" altLang="en-US" sz="120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过敏性结膜炎在</a:t>
              </a:r>
              <a:endParaRPr kumimoji="0" lang="en-US" altLang="zh-CN" sz="120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R="0" lvl="0" defTabSz="914400" rtl="0" fontAlgn="auto">
                <a:buClr>
                  <a:srgbClr val="F7A200"/>
                </a:buClr>
                <a:buSzTx/>
                <a:defRPr/>
              </a:pPr>
              <a:r>
                <a:rPr kumimoji="0" lang="zh-CN" altLang="en-US" sz="120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眼干人群中患病率</a:t>
              </a:r>
              <a:r>
                <a:rPr kumimoji="0" lang="en-US" altLang="zh-CN" sz="1200" i="0" u="none" strike="noStrike" kern="1200" cap="none" spc="0" normalizeH="0" baseline="30000" noProof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1</a:t>
              </a:r>
              <a:endParaRPr kumimoji="0" lang="en-US" altLang="zh-CN" sz="1200" i="0" u="none" strike="noStrike" kern="1200" cap="none" spc="0" normalizeH="0" baseline="3000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145" name="图形 144"/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325" y="6505"/>
              <a:ext cx="275" cy="275"/>
            </a:xfrm>
            <a:prstGeom prst="rect">
              <a:avLst/>
            </a:prstGeom>
          </p:spPr>
        </p:pic>
        <p:sp>
          <p:nvSpPr>
            <p:cNvPr id="155" name="文本框 154"/>
            <p:cNvSpPr txBox="1"/>
            <p:nvPr/>
          </p:nvSpPr>
          <p:spPr>
            <a:xfrm>
              <a:off x="1396" y="7088"/>
              <a:ext cx="2307" cy="628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fontAlgn="auto">
                <a:buClr>
                  <a:srgbClr val="F7A200"/>
                </a:buClr>
              </a:pPr>
              <a:r>
                <a:rPr lang="en-US" altLang="zh-CN" sz="2000" dirty="0">
                  <a:solidFill>
                    <a:srgbClr val="0971CA"/>
                  </a:solidFill>
                  <a:latin typeface="Impact" panose="020B0806030902050204" pitchFamily="34" charset="0"/>
                  <a:ea typeface="微软雅黑" panose="020B0503020204020204" pitchFamily="34" charset="-122"/>
                  <a:sym typeface="+mn-ea"/>
                </a:rPr>
                <a:t>45.3%</a:t>
              </a:r>
              <a:endParaRPr lang="zh-CN" altLang="en-US" sz="2000" b="1" dirty="0">
                <a:solidFill>
                  <a:srgbClr val="0971CA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158" name="直接连接符 157"/>
            <p:cNvCxnSpPr/>
            <p:nvPr/>
          </p:nvCxnSpPr>
          <p:spPr>
            <a:xfrm>
              <a:off x="1228" y="7072"/>
              <a:ext cx="2643" cy="0"/>
            </a:xfrm>
            <a:prstGeom prst="line">
              <a:avLst/>
            </a:prstGeom>
            <a:ln w="6350">
              <a:gradFill>
                <a:gsLst>
                  <a:gs pos="50000">
                    <a:srgbClr val="0971CA">
                      <a:alpha val="50000"/>
                    </a:srgbClr>
                  </a:gs>
                  <a:gs pos="0">
                    <a:srgbClr val="0971CA">
                      <a:alpha val="0"/>
                    </a:srgbClr>
                  </a:gs>
                  <a:gs pos="100000">
                    <a:srgbClr val="0971CA">
                      <a:alpha val="0"/>
                    </a:srgbClr>
                  </a:gs>
                </a:gsLst>
                <a:lin ang="0" scaled="0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文本框 3"/>
          <p:cNvSpPr txBox="1"/>
          <p:nvPr/>
        </p:nvSpPr>
        <p:spPr>
          <a:xfrm>
            <a:off x="765650" y="8216900"/>
            <a:ext cx="7782560" cy="19875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 algn="l">
              <a:buClrTx/>
              <a:buSzTx/>
              <a:buFontTx/>
            </a:pPr>
            <a:endParaRPr lang="en-US" altLang="zh-CN" sz="9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331720" y="225179"/>
            <a:ext cx="9485629" cy="707886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1755" indent="0">
              <a:lnSpc>
                <a:spcPct val="100000"/>
              </a:lnSpc>
              <a:buNone/>
            </a:pPr>
            <a:r>
              <a:rPr lang="zh-CN" altLang="en-US" sz="20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盐酸西替利嗪滴眼液填补目录内无</a:t>
            </a:r>
            <a:r>
              <a:rPr lang="en-US" altLang="zh-CN" sz="20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2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岁及以上</a:t>
            </a:r>
            <a:r>
              <a:rPr lang="zh-CN" altLang="en-US" sz="2000" b="1">
                <a:solidFill>
                  <a:srgbClr val="E1007F"/>
                </a:solidFill>
                <a:latin typeface="微软雅黑" panose="020B0503020204020204" pitchFamily="34" charset="-122"/>
                <a:sym typeface="+mn-ea"/>
              </a:rPr>
              <a:t>幼儿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sym typeface="+mn-ea"/>
              </a:rPr>
              <a:t>过敏性结膜炎</a:t>
            </a:r>
            <a:r>
              <a:rPr lang="zh-CN" altLang="en-US" sz="20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微软雅黑" panose="020B0503020204020204" pitchFamily="34" charset="-122"/>
                <a:sym typeface="+mn-ea"/>
              </a:rPr>
              <a:t>治疗药物的空白，显著提升患者用药公平性</a:t>
            </a:r>
            <a:endParaRPr lang="zh-CN" altLang="en-US" sz="2000" b="1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0" y="225425"/>
            <a:ext cx="2331720" cy="706755"/>
            <a:chOff x="0" y="225425"/>
            <a:chExt cx="2331720" cy="706755"/>
          </a:xfrm>
        </p:grpSpPr>
        <p:grpSp>
          <p:nvGrpSpPr>
            <p:cNvPr id="20" name="组合 19"/>
            <p:cNvGrpSpPr/>
            <p:nvPr/>
          </p:nvGrpSpPr>
          <p:grpSpPr>
            <a:xfrm>
              <a:off x="0" y="225425"/>
              <a:ext cx="2331720" cy="706755"/>
              <a:chOff x="0" y="225425"/>
              <a:chExt cx="2331720" cy="706755"/>
            </a:xfrm>
          </p:grpSpPr>
          <p:sp>
            <p:nvSpPr>
              <p:cNvPr id="9" name="任意多边形: 形状 8"/>
              <p:cNvSpPr/>
              <p:nvPr/>
            </p:nvSpPr>
            <p:spPr>
              <a:xfrm rot="10800000" flipH="1">
                <a:off x="268605" y="225425"/>
                <a:ext cx="2063115" cy="706755"/>
              </a:xfrm>
              <a:custGeom>
                <a:avLst/>
                <a:gdLst>
                  <a:gd name="csX0" fmla="*/ 0 w 2063115"/>
                  <a:gd name="csY0" fmla="*/ 706755 h 706755"/>
                  <a:gd name="csX1" fmla="*/ 1750340 w 2063115"/>
                  <a:gd name="csY1" fmla="*/ 706755 h 706755"/>
                  <a:gd name="csX2" fmla="*/ 1833245 w 2063115"/>
                  <a:gd name="csY2" fmla="*/ 667917 h 706755"/>
                  <a:gd name="csX3" fmla="*/ 2038014 w 2063115"/>
                  <a:gd name="csY3" fmla="*/ 422494 h 706755"/>
                  <a:gd name="csX4" fmla="*/ 2038014 w 2063115"/>
                  <a:gd name="csY4" fmla="*/ 284133 h 706755"/>
                  <a:gd name="csX5" fmla="*/ 1833245 w 2063115"/>
                  <a:gd name="csY5" fmla="*/ 38838 h 706755"/>
                  <a:gd name="csX6" fmla="*/ 1750340 w 2063115"/>
                  <a:gd name="csY6" fmla="*/ 0 h 706755"/>
                  <a:gd name="csX7" fmla="*/ 0 w 2063115"/>
                  <a:gd name="csY7" fmla="*/ 0 h 706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063115" h="706755">
                    <a:moveTo>
                      <a:pt x="0" y="706755"/>
                    </a:moveTo>
                    <a:lnTo>
                      <a:pt x="1750340" y="706755"/>
                    </a:lnTo>
                    <a:cubicBezTo>
                      <a:pt x="1782403" y="706755"/>
                      <a:pt x="1812678" y="692573"/>
                      <a:pt x="1833245" y="667917"/>
                    </a:cubicBezTo>
                    <a:lnTo>
                      <a:pt x="2038014" y="422494"/>
                    </a:lnTo>
                    <a:cubicBezTo>
                      <a:pt x="2071482" y="382379"/>
                      <a:pt x="2071482" y="324121"/>
                      <a:pt x="2038014" y="284133"/>
                    </a:cubicBezTo>
                    <a:lnTo>
                      <a:pt x="1833245" y="38838"/>
                    </a:lnTo>
                    <a:cubicBezTo>
                      <a:pt x="1812678" y="14181"/>
                      <a:pt x="1782276" y="0"/>
                      <a:pt x="1750340" y="0"/>
                    </a:cubicBez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rgbClr val="FFFFFF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18" name="任意多边形: 形状 17"/>
              <p:cNvSpPr/>
              <p:nvPr/>
            </p:nvSpPr>
            <p:spPr>
              <a:xfrm rot="10800000" flipH="1">
                <a:off x="0" y="225425"/>
                <a:ext cx="2210434" cy="706755"/>
              </a:xfrm>
              <a:custGeom>
                <a:avLst/>
                <a:gdLst>
                  <a:gd name="csX0" fmla="*/ 0 w 2210434"/>
                  <a:gd name="csY0" fmla="*/ 706755 h 706755"/>
                  <a:gd name="csX1" fmla="*/ 268604 w 2210434"/>
                  <a:gd name="csY1" fmla="*/ 706755 h 706755"/>
                  <a:gd name="csX2" fmla="*/ 1629046 w 2210434"/>
                  <a:gd name="csY2" fmla="*/ 706755 h 706755"/>
                  <a:gd name="csX3" fmla="*/ 1897650 w 2210434"/>
                  <a:gd name="csY3" fmla="*/ 706755 h 706755"/>
                  <a:gd name="csX4" fmla="*/ 1980558 w 2210434"/>
                  <a:gd name="csY4" fmla="*/ 667917 h 706755"/>
                  <a:gd name="csX5" fmla="*/ 2185333 w 2210434"/>
                  <a:gd name="csY5" fmla="*/ 422494 h 706755"/>
                  <a:gd name="csX6" fmla="*/ 2185333 w 2210434"/>
                  <a:gd name="csY6" fmla="*/ 284133 h 706755"/>
                  <a:gd name="csX7" fmla="*/ 1980558 w 2210434"/>
                  <a:gd name="csY7" fmla="*/ 38838 h 706755"/>
                  <a:gd name="csX8" fmla="*/ 1897650 w 2210434"/>
                  <a:gd name="csY8" fmla="*/ 0 h 706755"/>
                  <a:gd name="csX9" fmla="*/ 1629046 w 2210434"/>
                  <a:gd name="csY9" fmla="*/ 0 h 706755"/>
                  <a:gd name="csX10" fmla="*/ 268604 w 2210434"/>
                  <a:gd name="csY10" fmla="*/ 0 h 706755"/>
                  <a:gd name="csX11" fmla="*/ 0 w 2210434"/>
                  <a:gd name="csY11" fmla="*/ 0 h 70675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</a:cxnLst>
                <a:rect l="l" t="t" r="r" b="b"/>
                <a:pathLst>
                  <a:path w="2210434" h="706755">
                    <a:moveTo>
                      <a:pt x="0" y="706755"/>
                    </a:moveTo>
                    <a:lnTo>
                      <a:pt x="268604" y="706755"/>
                    </a:lnTo>
                    <a:lnTo>
                      <a:pt x="1629046" y="706755"/>
                    </a:lnTo>
                    <a:lnTo>
                      <a:pt x="1897650" y="706755"/>
                    </a:lnTo>
                    <a:cubicBezTo>
                      <a:pt x="1929714" y="706755"/>
                      <a:pt x="1959990" y="692573"/>
                      <a:pt x="1980558" y="667917"/>
                    </a:cubicBezTo>
                    <a:lnTo>
                      <a:pt x="2185333" y="422494"/>
                    </a:lnTo>
                    <a:cubicBezTo>
                      <a:pt x="2218801" y="382379"/>
                      <a:pt x="2218801" y="324121"/>
                      <a:pt x="2185333" y="284133"/>
                    </a:cubicBezTo>
                    <a:lnTo>
                      <a:pt x="1980558" y="38838"/>
                    </a:lnTo>
                    <a:cubicBezTo>
                      <a:pt x="1959990" y="14181"/>
                      <a:pt x="1929587" y="0"/>
                      <a:pt x="1897650" y="0"/>
                    </a:cubicBezTo>
                    <a:lnTo>
                      <a:pt x="1629046" y="0"/>
                    </a:lnTo>
                    <a:lnTo>
                      <a:pt x="268604" y="0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rgbClr val="FFFFFF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2" name="文本框 11"/>
            <p:cNvSpPr txBox="1"/>
            <p:nvPr/>
          </p:nvSpPr>
          <p:spPr>
            <a:xfrm>
              <a:off x="233680" y="338455"/>
              <a:ext cx="1778635" cy="460375"/>
            </a:xfrm>
            <a:prstGeom prst="rect">
              <a:avLst/>
            </a:prstGeom>
          </p:spPr>
          <p:style>
            <a:lnRef idx="0">
              <a:srgbClr val="FFFFFF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spAutoFit/>
            </a:bodyPr>
            <a:lstStyle/>
            <a:p>
              <a:pPr algn="ctr"/>
              <a:r>
                <a:rPr lang="zh-CN" altLang="en-US" sz="2400" b="1" i="1">
                  <a:gradFill>
                    <a:gsLst>
                      <a:gs pos="2000">
                        <a:schemeClr val="bg1"/>
                      </a:gs>
                      <a:gs pos="100000">
                        <a:schemeClr val="bg1"/>
                      </a:gs>
                    </a:gsLst>
                    <a:lin ang="0" scaled="0"/>
                  </a:gradFill>
                </a:rPr>
                <a:t>公平性（一）</a:t>
              </a:r>
              <a:endParaRPr lang="zh-CN" altLang="en-US" sz="2400" b="1" i="1">
                <a:gradFill>
                  <a:gsLst>
                    <a:gs pos="2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</a:endParaRPr>
            </a:p>
          </p:txBody>
        </p:sp>
      </p:grpSp>
      <p:sp>
        <p:nvSpPr>
          <p:cNvPr id="23" name="文本框 22"/>
          <p:cNvSpPr txBox="1"/>
          <p:nvPr/>
        </p:nvSpPr>
        <p:spPr>
          <a:xfrm>
            <a:off x="307340" y="6697345"/>
            <a:ext cx="11476355" cy="103505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>
              <a:lnSpc>
                <a:spcPct val="110000"/>
              </a:lnSpc>
            </a:pPr>
            <a:r>
              <a:rPr lang="en-US" altLang="zh-CN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1.Blurred Lines:The Interaction and Overlap of Ocular Allergy and Dry Eye,Ophthalmology360,2025</a:t>
            </a:r>
            <a:r>
              <a:rPr lang="zh-CN" altLang="en-US" sz="70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1"/>
                </a:gradFill>
                <a:latin typeface="+mn-ea"/>
                <a:sym typeface="+mn-ea"/>
              </a:rPr>
              <a:t>（与干眼联用优势综述）</a:t>
            </a:r>
            <a:endParaRPr lang="zh-CN" altLang="en-US" sz="700"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lin ang="5400000" scaled="1"/>
              </a:gradFill>
              <a:latin typeface="+mn-ea"/>
              <a:sym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11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12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13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14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15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16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17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18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19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20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1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2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3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4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5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6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7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8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29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3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30.xml><?xml version="1.0" encoding="utf-8"?>
<p:tagLst xmlns:p="http://schemas.openxmlformats.org/presentationml/2006/main">
  <p:tag name="KSO_WM_DIAGRAM_VIRTUALLY_FRAME" val="{&quot;height&quot;:137.04236220472438,&quot;left&quot;:37.20645669291334,&quot;top&quot;:358.03677165354327,&quot;width&quot;:885.101338582677}"/>
</p:tagLst>
</file>

<file path=ppt/tags/tag31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2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3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4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5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6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7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8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39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40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1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2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3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4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5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6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7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8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49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50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1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2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3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4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5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6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7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8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59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6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60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61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62.xml><?xml version="1.0" encoding="utf-8"?>
<p:tagLst xmlns:p="http://schemas.openxmlformats.org/presentationml/2006/main">
  <p:tag name="KSO_WM_DIAGRAM_VIRTUALLY_FRAME" val="{&quot;height&quot;:392.041968503937,&quot;left&quot;:29.499921259842516,&quot;top&quot;:87.11582677165352,&quot;width&quot;:901}"/>
</p:tagLst>
</file>

<file path=ppt/tags/tag63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4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5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6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7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8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69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70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1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2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3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4.xml><?xml version="1.0" encoding="utf-8"?>
<p:tagLst xmlns:p="http://schemas.openxmlformats.org/presentationml/2006/main">
  <p:tag name="KSO_WM_DIAGRAM_VIRTUALLY_FRAME" val="{&quot;height&quot;:409.52838066157216,&quot;left&quot;:11.85,&quot;top&quot;:68.45004453527822,&quot;width&quot;:968.4499988721507}"/>
</p:tagLst>
</file>

<file path=ppt/tags/tag75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76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77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78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79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80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1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2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3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4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5.xml><?xml version="1.0" encoding="utf-8"?>
<p:tagLst xmlns:p="http://schemas.openxmlformats.org/presentationml/2006/main">
  <p:tag name="KSO_WM_DIAGRAM_VIRTUALLY_FRAME" val="{&quot;height&quot;:356.15,&quot;left&quot;:47.95,&quot;top&quot;:79.25,&quot;width&quot;:875.55}"/>
</p:tagLst>
</file>

<file path=ppt/tags/tag86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87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88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89.xml><?xml version="1.0" encoding="utf-8"?>
<p:tagLst xmlns:p="http://schemas.openxmlformats.org/presentationml/2006/main">
  <p:tag name="KSO_WM_DIAGRAM_VIRTUALLY_FRAME" val="{&quot;height&quot;:377.0694094488189,&quot;left&quot;:22.080078740157482,&quot;top&quot;:126.91712598425197,&quot;width&quot;:934.2392913385826}"/>
</p:tagLst>
</file>

<file path=ppt/tags/tag9.xml><?xml version="1.0" encoding="utf-8"?>
<p:tagLst xmlns:p="http://schemas.openxmlformats.org/presentationml/2006/main">
  <p:tag name="KSO_WM_DIAGRAM_VIRTUALLY_FRAME" val="{&quot;height&quot;:104.47763779527558,&quot;left&quot;:29.05,&quot;top&quot;:299.39275590551176,&quot;width&quot;:901.8983464566929}"/>
</p:tagLst>
</file>

<file path=ppt/tags/tag90.xml><?xml version="1.0" encoding="utf-8"?>
<p:tagLst xmlns:p="http://schemas.openxmlformats.org/presentationml/2006/main">
  <p:tag name="KSO_WM_DIAGRAM_VIRTUALLY_FRAME" val="{&quot;height&quot;:385.5833070866141,&quot;left&quot;:394.5282677165354,&quot;top&quot;:88.94511811023622,&quot;width&quot;:565.3449606299213}"/>
</p:tagLst>
</file>

<file path=ppt/tags/tag91.xml><?xml version="1.0" encoding="utf-8"?>
<p:tagLst xmlns:p="http://schemas.openxmlformats.org/presentationml/2006/main">
  <p:tag name="KSO_WM_DIAGRAM_VIRTUALLY_FRAME" val="{&quot;height&quot;:377.0694094488189,&quot;left&quot;:22.080078740157482,&quot;top&quot;:126.91712598425197,&quot;width&quot;:934.2392913385826}"/>
</p:tagLst>
</file>

<file path=ppt/tags/tag92.xml><?xml version="1.0" encoding="utf-8"?>
<p:tagLst xmlns:p="http://schemas.openxmlformats.org/presentationml/2006/main">
  <p:tag name="KSO_WM_DIAGRAM_VIRTUALLY_FRAME" val="{&quot;height&quot;:377.0694094488189,&quot;left&quot;:22.080078740157482,&quot;top&quot;:126.91712598425197,&quot;width&quot;:934.2392913385826}"/>
</p:tagLst>
</file>

<file path=ppt/tags/tag93.xml><?xml version="1.0" encoding="utf-8"?>
<p:tagLst xmlns:p="http://schemas.openxmlformats.org/presentationml/2006/main">
  <p:tag name="KSO_WM_DIAGRAM_VIRTUALLY_FRAME" val="{&quot;height&quot;:377.0694094488189,&quot;left&quot;:22.080078740157482,&quot;top&quot;:126.91712598425197,&quot;width&quot;:934.2392913385826}"/>
</p:tagLst>
</file>

<file path=ppt/tags/tag94.xml><?xml version="1.0" encoding="utf-8"?>
<p:tagLst xmlns:p="http://schemas.openxmlformats.org/presentationml/2006/main">
  <p:tag name="THINKCELLSHAPEDONOTDELETE" val="thinkcellActiveDocDoNotDelete"/>
</p:tagLst>
</file>

<file path=ppt/tags/tag95.xml><?xml version="1.0" encoding="utf-8"?>
<p:tagLst xmlns:p="http://schemas.openxmlformats.org/presentationml/2006/main">
  <p:tag name="RESOURCE_RECORD_KEY" val="{&quot;13&quot;:[4695725],&quot;8&quot;:[20476439]}"/>
</p:tagLst>
</file>

<file path=ppt/theme/theme1.xml><?xml version="1.0" encoding="utf-8"?>
<a:theme xmlns:a="http://schemas.openxmlformats.org/drawingml/2006/main" name="WPS">
  <a:themeElements>
    <a:clrScheme name="WP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874CB"/>
      </a:accent1>
      <a:accent2>
        <a:srgbClr val="EE822F"/>
      </a:accent2>
      <a:accent3>
        <a:srgbClr val="F2BA02"/>
      </a:accent3>
      <a:accent4>
        <a:srgbClr val="75BD42"/>
      </a:accent4>
      <a:accent5>
        <a:srgbClr val="30C0B4"/>
      </a:accent5>
      <a:accent6>
        <a:srgbClr val="E54C5E"/>
      </a:accent6>
      <a:hlink>
        <a:srgbClr val="0026E5"/>
      </a:hlink>
      <a:folHlink>
        <a:srgbClr val="7E1FAD"/>
      </a:folHlink>
    </a:clrScheme>
    <a:fontScheme name="WP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PS">
      <a:fillStyleLst>
        <a:solidFill>
          <a:schemeClr val="phClr"/>
        </a:solidFill>
        <a:gradFill>
          <a:gsLst>
            <a:gs pos="0">
              <a:schemeClr val="phClr">
                <a:lumOff val="17500"/>
              </a:schemeClr>
            </a:gs>
            <a:gs pos="100000">
              <a:schemeClr val="phClr"/>
            </a:gs>
          </a:gsLst>
          <a:lin ang="2700000" scaled="0"/>
        </a:gradFill>
        <a:gradFill>
          <a:gsLst>
            <a:gs pos="0">
              <a:schemeClr val="phClr">
                <a:hueOff val="-2520000"/>
              </a:schemeClr>
            </a:gs>
            <a:gs pos="100000">
              <a:schemeClr val="phClr"/>
            </a:gs>
          </a:gsLst>
          <a:lin ang="27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gradFill>
            <a:gsLst>
              <a:gs pos="0">
                <a:schemeClr val="phClr">
                  <a:hueOff val="-4200000"/>
                </a:schemeClr>
              </a:gs>
              <a:gs pos="100000">
                <a:schemeClr val="phClr"/>
              </a:gs>
            </a:gsLst>
            <a:lin ang="2700000" scaled="1"/>
          </a:gradFill>
          <a:prstDash val="solid"/>
          <a:miter lim="800000"/>
        </a:ln>
      </a:lnStyleLst>
      <a:effectStyleLst>
        <a:effectStyle>
          <a:effectLst>
            <a:outerShdw blurRad="101600" dist="50800" dir="5400000" algn="ctr" rotWithShape="0">
              <a:schemeClr val="phClr">
                <a:alpha val="60000"/>
              </a:schemeClr>
            </a:outerShdw>
          </a:effectLst>
        </a:effectStyle>
        <a:effectStyle>
          <a:effectLst>
            <a:reflection stA="50000" endA="300" endPos="40000" dist="25400" dir="5400000" sy="-100000" algn="bl" rotWithShape="0"/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43</Words>
  <Application>WPS 演示</Application>
  <PresentationFormat>宽屏</PresentationFormat>
  <Paragraphs>328</Paragraphs>
  <Slides>10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Arial</vt:lpstr>
      <vt:lpstr>宋体</vt:lpstr>
      <vt:lpstr>Wingdings</vt:lpstr>
      <vt:lpstr>微软雅黑</vt:lpstr>
      <vt:lpstr>Wingdings</vt:lpstr>
      <vt:lpstr>华文行楷</vt:lpstr>
      <vt:lpstr>Arial</vt:lpstr>
      <vt:lpstr>Impact</vt:lpstr>
      <vt:lpstr>华文仿宋</vt:lpstr>
      <vt:lpstr>Arial Unicode MS</vt:lpstr>
      <vt:lpstr>Calibri</vt:lpstr>
      <vt:lpstr>WPS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花生</dc:creator>
  <cp:lastModifiedBy>E.vAY☁︎</cp:lastModifiedBy>
  <cp:revision>463</cp:revision>
  <dcterms:created xsi:type="dcterms:W3CDTF">2023-08-09T12:44:00Z</dcterms:created>
  <dcterms:modified xsi:type="dcterms:W3CDTF">2026-06-09T07:4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5931CDABFB94F708C6F3DEB58886808_13</vt:lpwstr>
  </property>
  <property fmtid="{D5CDD505-2E9C-101B-9397-08002B2CF9AE}" pid="3" name="KSOProductBuildVer">
    <vt:lpwstr>2052-12.1.0.20305</vt:lpwstr>
  </property>
</Properties>
</file>